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87" r:id="rId2"/>
    <p:sldMasterId id="2147483802" r:id="rId3"/>
    <p:sldMasterId id="2147483809" r:id="rId4"/>
    <p:sldMasterId id="2147483816" r:id="rId5"/>
  </p:sldMasterIdLst>
  <p:notesMasterIdLst>
    <p:notesMasterId r:id="rId16"/>
  </p:notesMasterIdLst>
  <p:handoutMasterIdLst>
    <p:handoutMasterId r:id="rId17"/>
  </p:handoutMasterIdLst>
  <p:sldIdLst>
    <p:sldId id="382" r:id="rId6"/>
    <p:sldId id="424" r:id="rId7"/>
    <p:sldId id="425" r:id="rId8"/>
    <p:sldId id="426" r:id="rId9"/>
    <p:sldId id="427" r:id="rId10"/>
    <p:sldId id="421" r:id="rId11"/>
    <p:sldId id="429" r:id="rId12"/>
    <p:sldId id="430" r:id="rId13"/>
    <p:sldId id="428" r:id="rId14"/>
    <p:sldId id="431" r:id="rId15"/>
  </p:sldIdLst>
  <p:sldSz cx="13439775" cy="7559675"/>
  <p:notesSz cx="6681788" cy="9812338"/>
  <p:defaultTextStyle>
    <a:defPPr>
      <a:defRPr lang="en-GB"/>
    </a:defPPr>
    <a:lvl1pPr algn="l" defTabSz="4667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742950" indent="-285750" algn="l" defTabSz="4667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1143000" indent="-228600" algn="l" defTabSz="4667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600200" indent="-228600" algn="l" defTabSz="4667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2057400" indent="-228600" algn="l" defTabSz="4667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43" userDrawn="1">
          <p15:clr>
            <a:srgbClr val="A4A3A4"/>
          </p15:clr>
        </p15:guide>
        <p15:guide id="2" pos="19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C8C8C"/>
    <a:srgbClr val="FFFFFF"/>
    <a:srgbClr val="CCCCCC"/>
    <a:srgbClr val="08CA28"/>
    <a:srgbClr val="61F985"/>
    <a:srgbClr val="61F9CC"/>
    <a:srgbClr val="CCFFCC"/>
    <a:srgbClr val="ED174C"/>
    <a:srgbClr val="EF2F5E"/>
    <a:srgbClr val="F146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91" autoAdjust="0"/>
    <p:restoredTop sz="94414" autoAdjust="0"/>
  </p:normalViewPr>
  <p:slideViewPr>
    <p:cSldViewPr>
      <p:cViewPr varScale="1">
        <p:scale>
          <a:sx n="96" d="100"/>
          <a:sy n="96" d="100"/>
        </p:scale>
        <p:origin x="834" y="96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820" y="90"/>
      </p:cViewPr>
      <p:guideLst>
        <p:guide orient="horz" pos="2643"/>
        <p:guide pos="19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00" dirty="0"/>
              <a:t>Кол-во лицензий в проектах внедрения за всю историю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лицензий в проектах внедрения 2014 года</c:v>
                </c:pt>
              </c:strCache>
            </c:strRef>
          </c:tx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4"/>
            <c:bubble3D val="0"/>
            <c:spPr>
              <a:solidFill>
                <a:schemeClr val="dk1">
                  <a:tint val="3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5"/>
            <c:bubble3D val="0"/>
            <c:spPr>
              <a:solidFill>
                <a:schemeClr val="dk1">
                  <a:tint val="6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Lbls>
            <c:dLbl>
              <c:idx val="1"/>
              <c:layout>
                <c:manualLayout>
                  <c:x val="-0.16222223235560893"/>
                  <c:y val="-0.2200407381669022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fld id="{0D1796CF-7C7E-45A7-B68C-3D8DFBCF3798}" type="CATEGORYNAME">
                      <a:rPr lang="en-US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</a:rPr>
                      <a:pPr/>
                      <a:t>[ИМЯ КАТЕГОРИИ]</a:t>
                    </a:fld>
                    <a:r>
                      <a:rPr lang="en-US" baseline="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</a:rPr>
                      <a:t>
</a:t>
                    </a:r>
                    <a:fld id="{7BC3570D-A91A-4F4F-A0C0-B8E9AAC9D7C7}" type="PERCENTAGE">
                      <a:rPr lang="en-US" baseline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</a:rPr>
                      <a:pPr/>
                      <a:t>[ПРОЦЕНТ]</a:t>
                    </a:fld>
                    <a:endParaRPr lang="en-US" baseline="0" dirty="0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</a:endParaRPr>
                  </a:p>
                </c:rich>
              </c:tx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Электронные офисные системы (ЭОС)</c:v>
                </c:pt>
                <c:pt idx="1">
                  <c:v>Корпорация EMC</c:v>
                </c:pt>
                <c:pt idx="2">
                  <c:v>DocsVision</c:v>
                </c:pt>
                <c:pt idx="3">
                  <c:v>Directum</c:v>
                </c:pt>
                <c:pt idx="4">
                  <c:v>InterTrust</c:v>
                </c:pt>
                <c:pt idx="5">
                  <c:v>другие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65503</c:v>
                </c:pt>
                <c:pt idx="1">
                  <c:v>150700</c:v>
                </c:pt>
                <c:pt idx="2">
                  <c:v>115397</c:v>
                </c:pt>
                <c:pt idx="3">
                  <c:v>53614</c:v>
                </c:pt>
                <c:pt idx="4">
                  <c:v>42420</c:v>
                </c:pt>
                <c:pt idx="5">
                  <c:v>118680</c:v>
                </c:pt>
              </c:numCache>
            </c:numRef>
          </c:val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00" dirty="0"/>
              <a:t>Кол-во лицензий в проектах внедрения за 2014 год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лицензий в проектах внедрения за 2014 года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shade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4">
                  <a:shade val="7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4">
                  <a:shade val="9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>
                  <a:tint val="9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4"/>
            <c:bubble3D val="0"/>
            <c:spPr>
              <a:solidFill>
                <a:schemeClr val="accent4">
                  <a:tint val="7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5"/>
            <c:bubble3D val="0"/>
            <c:spPr>
              <a:solidFill>
                <a:schemeClr val="accent4">
                  <a:tint val="5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Электронные офисные системы (ЭОС)</c:v>
                </c:pt>
                <c:pt idx="1">
                  <c:v>InterTrust</c:v>
                </c:pt>
                <c:pt idx="2">
                  <c:v>Directum</c:v>
                </c:pt>
                <c:pt idx="3">
                  <c:v>Haulmont</c:v>
                </c:pt>
                <c:pt idx="4">
                  <c:v>1С</c:v>
                </c:pt>
                <c:pt idx="5">
                  <c:v>другие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752</c:v>
                </c:pt>
                <c:pt idx="1">
                  <c:v>3500</c:v>
                </c:pt>
                <c:pt idx="2">
                  <c:v>2932</c:v>
                </c:pt>
                <c:pt idx="3">
                  <c:v>2460</c:v>
                </c:pt>
                <c:pt idx="4">
                  <c:v>1234</c:v>
                </c:pt>
                <c:pt idx="5">
                  <c:v>3875</c:v>
                </c:pt>
              </c:numCache>
            </c:numRef>
          </c:val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BBE751-40BA-4F3A-B775-514FFCAF84A5}" type="doc">
      <dgm:prSet loTypeId="urn:microsoft.com/office/officeart/2005/8/layout/radial5" loCatId="cycle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37B8FB23-6940-4EFD-9E3D-AD38754762ED}">
      <dgm:prSet phldrT="[Текст]"/>
      <dgm:spPr/>
      <dgm:t>
        <a:bodyPr/>
        <a:lstStyle/>
        <a:p>
          <a:r>
            <a:rPr lang="ru-RU" dirty="0" smtClean="0"/>
            <a:t>Решение </a:t>
          </a:r>
          <a:r>
            <a:rPr lang="en-US" dirty="0" smtClean="0"/>
            <a:t>ECM</a:t>
          </a:r>
          <a:endParaRPr lang="ru-RU" dirty="0"/>
        </a:p>
      </dgm:t>
    </dgm:pt>
    <dgm:pt modelId="{E9FD1C79-D1BE-4F61-9E44-720C23C6EE72}" type="parTrans" cxnId="{D6E9E182-6F93-47BD-B83A-832860402155}">
      <dgm:prSet/>
      <dgm:spPr/>
      <dgm:t>
        <a:bodyPr/>
        <a:lstStyle/>
        <a:p>
          <a:endParaRPr lang="ru-RU"/>
        </a:p>
      </dgm:t>
    </dgm:pt>
    <dgm:pt modelId="{CADA0AF9-CF6C-4EBF-AEC9-D40E0DE57609}" type="sibTrans" cxnId="{D6E9E182-6F93-47BD-B83A-832860402155}">
      <dgm:prSet/>
      <dgm:spPr/>
      <dgm:t>
        <a:bodyPr/>
        <a:lstStyle/>
        <a:p>
          <a:endParaRPr lang="ru-RU"/>
        </a:p>
      </dgm:t>
    </dgm:pt>
    <dgm:pt modelId="{C289B048-E9E6-4D98-8C9F-200AD081EA7D}">
      <dgm:prSet phldrT="[Текст]"/>
      <dgm:spPr/>
      <dgm:t>
        <a:bodyPr/>
        <a:lstStyle/>
        <a:p>
          <a:r>
            <a:rPr lang="ru-RU" dirty="0" smtClean="0"/>
            <a:t>Отчётность</a:t>
          </a:r>
          <a:endParaRPr lang="ru-RU" dirty="0"/>
        </a:p>
      </dgm:t>
    </dgm:pt>
    <dgm:pt modelId="{D68DA3C6-21D2-4DB4-9900-9739089CA43D}" type="parTrans" cxnId="{C9F4886F-D0EA-48B6-BA29-EBF141290343}">
      <dgm:prSet/>
      <dgm:spPr/>
      <dgm:t>
        <a:bodyPr/>
        <a:lstStyle/>
        <a:p>
          <a:endParaRPr lang="ru-RU"/>
        </a:p>
      </dgm:t>
    </dgm:pt>
    <dgm:pt modelId="{C0D5DC43-46C8-4BFF-A203-263797CDD77F}" type="sibTrans" cxnId="{C9F4886F-D0EA-48B6-BA29-EBF141290343}">
      <dgm:prSet/>
      <dgm:spPr/>
      <dgm:t>
        <a:bodyPr/>
        <a:lstStyle/>
        <a:p>
          <a:endParaRPr lang="ru-RU"/>
        </a:p>
      </dgm:t>
    </dgm:pt>
    <dgm:pt modelId="{518092D3-612A-480E-9215-3CD3E3527C1E}">
      <dgm:prSet phldrT="[Текст]"/>
      <dgm:spPr/>
      <dgm:t>
        <a:bodyPr/>
        <a:lstStyle/>
        <a:p>
          <a:r>
            <a:rPr lang="ru-RU" dirty="0" smtClean="0"/>
            <a:t>Меньше ошибок</a:t>
          </a:r>
          <a:endParaRPr lang="ru-RU" dirty="0"/>
        </a:p>
      </dgm:t>
    </dgm:pt>
    <dgm:pt modelId="{B160E53A-BBE8-43CA-B8A8-3D28D8DD093B}" type="parTrans" cxnId="{560E4D82-7229-4A09-A3D9-FD94704232C5}">
      <dgm:prSet/>
      <dgm:spPr/>
      <dgm:t>
        <a:bodyPr/>
        <a:lstStyle/>
        <a:p>
          <a:endParaRPr lang="ru-RU"/>
        </a:p>
      </dgm:t>
    </dgm:pt>
    <dgm:pt modelId="{E1E70186-9488-4E63-B7DC-54DBD28FDC62}" type="sibTrans" cxnId="{560E4D82-7229-4A09-A3D9-FD94704232C5}">
      <dgm:prSet/>
      <dgm:spPr/>
      <dgm:t>
        <a:bodyPr/>
        <a:lstStyle/>
        <a:p>
          <a:endParaRPr lang="ru-RU"/>
        </a:p>
      </dgm:t>
    </dgm:pt>
    <dgm:pt modelId="{32432F78-FDF4-4A32-8820-04D08CCB11B9}">
      <dgm:prSet phldrT="[Текст]"/>
      <dgm:spPr/>
      <dgm:t>
        <a:bodyPr/>
        <a:lstStyle/>
        <a:p>
          <a:r>
            <a:rPr lang="ru-RU" dirty="0" smtClean="0"/>
            <a:t>Повышение </a:t>
          </a:r>
          <a:r>
            <a:rPr lang="ru-RU" dirty="0" err="1" smtClean="0"/>
            <a:t>эффектив-ности</a:t>
          </a:r>
          <a:endParaRPr lang="ru-RU" dirty="0"/>
        </a:p>
      </dgm:t>
    </dgm:pt>
    <dgm:pt modelId="{63A29308-94DA-4990-879E-71709F5BA6DB}" type="parTrans" cxnId="{9F755493-11B0-4E2E-B578-EE1D50F63DC5}">
      <dgm:prSet/>
      <dgm:spPr/>
      <dgm:t>
        <a:bodyPr/>
        <a:lstStyle/>
        <a:p>
          <a:endParaRPr lang="ru-RU"/>
        </a:p>
      </dgm:t>
    </dgm:pt>
    <dgm:pt modelId="{C1F01FA4-7D9A-468A-9E5B-EA3229CBFF3F}" type="sibTrans" cxnId="{9F755493-11B0-4E2E-B578-EE1D50F63DC5}">
      <dgm:prSet/>
      <dgm:spPr/>
      <dgm:t>
        <a:bodyPr/>
        <a:lstStyle/>
        <a:p>
          <a:endParaRPr lang="ru-RU"/>
        </a:p>
      </dgm:t>
    </dgm:pt>
    <dgm:pt modelId="{1D2D384A-5129-4593-B456-70DC2395030F}">
      <dgm:prSet phldrT="[Текст]"/>
      <dgm:spPr/>
      <dgm:t>
        <a:bodyPr/>
        <a:lstStyle/>
        <a:p>
          <a:r>
            <a:rPr lang="ru-RU" dirty="0" smtClean="0"/>
            <a:t>Мониторинг и прозрачность</a:t>
          </a:r>
          <a:endParaRPr lang="ru-RU" dirty="0"/>
        </a:p>
      </dgm:t>
    </dgm:pt>
    <dgm:pt modelId="{3F602FC5-D12C-4A17-A1BE-8BD51801B7BB}" type="parTrans" cxnId="{1858D0C0-4C74-45FF-BD61-FA0FF9BE9E25}">
      <dgm:prSet/>
      <dgm:spPr/>
      <dgm:t>
        <a:bodyPr/>
        <a:lstStyle/>
        <a:p>
          <a:endParaRPr lang="ru-RU"/>
        </a:p>
      </dgm:t>
    </dgm:pt>
    <dgm:pt modelId="{1FE9284A-E65E-4FA9-AFA7-3C090A37FF6E}" type="sibTrans" cxnId="{1858D0C0-4C74-45FF-BD61-FA0FF9BE9E25}">
      <dgm:prSet/>
      <dgm:spPr/>
      <dgm:t>
        <a:bodyPr/>
        <a:lstStyle/>
        <a:p>
          <a:endParaRPr lang="ru-RU"/>
        </a:p>
      </dgm:t>
    </dgm:pt>
    <dgm:pt modelId="{65B49B16-13CF-4747-BD02-474D1AD68908}">
      <dgm:prSet phldrT="[Текст]"/>
      <dgm:spPr/>
      <dgm:t>
        <a:bodyPr/>
        <a:lstStyle/>
        <a:p>
          <a:r>
            <a:rPr lang="ru-RU" dirty="0" smtClean="0"/>
            <a:t>Продукт-</a:t>
          </a:r>
          <a:r>
            <a:rPr lang="ru-RU" dirty="0" err="1" smtClean="0"/>
            <a:t>ивность</a:t>
          </a:r>
          <a:endParaRPr lang="ru-RU" dirty="0"/>
        </a:p>
      </dgm:t>
    </dgm:pt>
    <dgm:pt modelId="{D612626B-0752-45F0-8F40-7ED58CC2DE0A}" type="parTrans" cxnId="{6D11E728-A109-4CB2-A826-DA352C83727E}">
      <dgm:prSet/>
      <dgm:spPr/>
      <dgm:t>
        <a:bodyPr/>
        <a:lstStyle/>
        <a:p>
          <a:endParaRPr lang="ru-RU"/>
        </a:p>
      </dgm:t>
    </dgm:pt>
    <dgm:pt modelId="{7B8D8BFD-04EB-4AF7-BED3-F17C20844A51}" type="sibTrans" cxnId="{6D11E728-A109-4CB2-A826-DA352C83727E}">
      <dgm:prSet/>
      <dgm:spPr/>
      <dgm:t>
        <a:bodyPr/>
        <a:lstStyle/>
        <a:p>
          <a:endParaRPr lang="ru-RU"/>
        </a:p>
      </dgm:t>
    </dgm:pt>
    <dgm:pt modelId="{01A1E584-7027-4F4F-9D19-AB91C793E39E}" type="pres">
      <dgm:prSet presAssocID="{28BBE751-40BA-4F3A-B775-514FFCAF84A5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BCEDDA-5DF1-4D9E-A390-7E36350A09AC}" type="pres">
      <dgm:prSet presAssocID="{37B8FB23-6940-4EFD-9E3D-AD38754762ED}" presName="centerShape" presStyleLbl="node0" presStyleIdx="0" presStyleCnt="1"/>
      <dgm:spPr/>
      <dgm:t>
        <a:bodyPr/>
        <a:lstStyle/>
        <a:p>
          <a:endParaRPr lang="ru-RU"/>
        </a:p>
      </dgm:t>
    </dgm:pt>
    <dgm:pt modelId="{22A97D2F-7F57-464D-8AF9-8B57C64D749C}" type="pres">
      <dgm:prSet presAssocID="{D68DA3C6-21D2-4DB4-9900-9739089CA43D}" presName="parTrans" presStyleLbl="sibTrans2D1" presStyleIdx="0" presStyleCnt="5"/>
      <dgm:spPr/>
      <dgm:t>
        <a:bodyPr/>
        <a:lstStyle/>
        <a:p>
          <a:endParaRPr lang="ru-RU"/>
        </a:p>
      </dgm:t>
    </dgm:pt>
    <dgm:pt modelId="{9BBAF4FB-2EA3-403A-B69B-F3ABB934C1A2}" type="pres">
      <dgm:prSet presAssocID="{D68DA3C6-21D2-4DB4-9900-9739089CA43D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156D37E1-6D47-4272-891F-9F3FD888E74D}" type="pres">
      <dgm:prSet presAssocID="{C289B048-E9E6-4D98-8C9F-200AD081EA7D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77E29B-63EB-41D0-A7D5-EE81E92B13AE}" type="pres">
      <dgm:prSet presAssocID="{D612626B-0752-45F0-8F40-7ED58CC2DE0A}" presName="parTrans" presStyleLbl="sibTrans2D1" presStyleIdx="1" presStyleCnt="5"/>
      <dgm:spPr/>
      <dgm:t>
        <a:bodyPr/>
        <a:lstStyle/>
        <a:p>
          <a:endParaRPr lang="ru-RU"/>
        </a:p>
      </dgm:t>
    </dgm:pt>
    <dgm:pt modelId="{D66D63BD-2CB2-473E-9A7A-C088545DAF13}" type="pres">
      <dgm:prSet presAssocID="{D612626B-0752-45F0-8F40-7ED58CC2DE0A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9AFA3C1E-AC02-4CF2-A0FF-B693D8A5BE4B}" type="pres">
      <dgm:prSet presAssocID="{65B49B16-13CF-4747-BD02-474D1AD68908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67A66F-538B-4174-BD4D-C4DE94F68DC2}" type="pres">
      <dgm:prSet presAssocID="{B160E53A-BBE8-43CA-B8A8-3D28D8DD093B}" presName="parTrans" presStyleLbl="sibTrans2D1" presStyleIdx="2" presStyleCnt="5"/>
      <dgm:spPr/>
      <dgm:t>
        <a:bodyPr/>
        <a:lstStyle/>
        <a:p>
          <a:endParaRPr lang="ru-RU"/>
        </a:p>
      </dgm:t>
    </dgm:pt>
    <dgm:pt modelId="{DD86BA81-4E1A-40B0-B913-7BE2F9BF5093}" type="pres">
      <dgm:prSet presAssocID="{B160E53A-BBE8-43CA-B8A8-3D28D8DD093B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B9CADB5A-EBC3-41D8-9E14-CE205E08AFB4}" type="pres">
      <dgm:prSet presAssocID="{518092D3-612A-480E-9215-3CD3E3527C1E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17B607-9459-449F-80A9-EFECB33DA11C}" type="pres">
      <dgm:prSet presAssocID="{63A29308-94DA-4990-879E-71709F5BA6DB}" presName="parTrans" presStyleLbl="sibTrans2D1" presStyleIdx="3" presStyleCnt="5"/>
      <dgm:spPr/>
      <dgm:t>
        <a:bodyPr/>
        <a:lstStyle/>
        <a:p>
          <a:endParaRPr lang="ru-RU"/>
        </a:p>
      </dgm:t>
    </dgm:pt>
    <dgm:pt modelId="{F748C156-BB76-4D44-AB18-134B97B7FE19}" type="pres">
      <dgm:prSet presAssocID="{63A29308-94DA-4990-879E-71709F5BA6DB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1ED3C99E-53E2-4D5B-B6C8-B509E6AD829D}" type="pres">
      <dgm:prSet presAssocID="{32432F78-FDF4-4A32-8820-04D08CCB11B9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C59373-6F6E-470A-B92E-AA0BDE08298C}" type="pres">
      <dgm:prSet presAssocID="{3F602FC5-D12C-4A17-A1BE-8BD51801B7BB}" presName="parTrans" presStyleLbl="sibTrans2D1" presStyleIdx="4" presStyleCnt="5"/>
      <dgm:spPr/>
      <dgm:t>
        <a:bodyPr/>
        <a:lstStyle/>
        <a:p>
          <a:endParaRPr lang="ru-RU"/>
        </a:p>
      </dgm:t>
    </dgm:pt>
    <dgm:pt modelId="{3FAF5A62-3766-482D-AD25-D046E8F7346F}" type="pres">
      <dgm:prSet presAssocID="{3F602FC5-D12C-4A17-A1BE-8BD51801B7BB}" presName="connectorText" presStyleLbl="sibTrans2D1" presStyleIdx="4" presStyleCnt="5"/>
      <dgm:spPr/>
      <dgm:t>
        <a:bodyPr/>
        <a:lstStyle/>
        <a:p>
          <a:endParaRPr lang="ru-RU"/>
        </a:p>
      </dgm:t>
    </dgm:pt>
    <dgm:pt modelId="{0ED5CFE4-B2D4-4242-B6F2-F89B2387C75E}" type="pres">
      <dgm:prSet presAssocID="{1D2D384A-5129-4593-B456-70DC2395030F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797D9C-B4D7-4AC4-B68A-E2AB018F8447}" type="presOf" srcId="{63A29308-94DA-4990-879E-71709F5BA6DB}" destId="{8917B607-9459-449F-80A9-EFECB33DA11C}" srcOrd="0" destOrd="0" presId="urn:microsoft.com/office/officeart/2005/8/layout/radial5"/>
    <dgm:cxn modelId="{4C8C371F-4FAA-4B96-838E-60D10125561B}" type="presOf" srcId="{B160E53A-BBE8-43CA-B8A8-3D28D8DD093B}" destId="{DD86BA81-4E1A-40B0-B913-7BE2F9BF5093}" srcOrd="1" destOrd="0" presId="urn:microsoft.com/office/officeart/2005/8/layout/radial5"/>
    <dgm:cxn modelId="{57DE3CC1-554D-4915-AAAC-C79DA3628DB5}" type="presOf" srcId="{37B8FB23-6940-4EFD-9E3D-AD38754762ED}" destId="{6BBCEDDA-5DF1-4D9E-A390-7E36350A09AC}" srcOrd="0" destOrd="0" presId="urn:microsoft.com/office/officeart/2005/8/layout/radial5"/>
    <dgm:cxn modelId="{B7162B62-68BC-4770-BB4A-0C0CC0078F52}" type="presOf" srcId="{D612626B-0752-45F0-8F40-7ED58CC2DE0A}" destId="{F977E29B-63EB-41D0-A7D5-EE81E92B13AE}" srcOrd="0" destOrd="0" presId="urn:microsoft.com/office/officeart/2005/8/layout/radial5"/>
    <dgm:cxn modelId="{76126FA0-2B3D-41B8-96AC-131DB9D28BC9}" type="presOf" srcId="{B160E53A-BBE8-43CA-B8A8-3D28D8DD093B}" destId="{6E67A66F-538B-4174-BD4D-C4DE94F68DC2}" srcOrd="0" destOrd="0" presId="urn:microsoft.com/office/officeart/2005/8/layout/radial5"/>
    <dgm:cxn modelId="{D6E9E182-6F93-47BD-B83A-832860402155}" srcId="{28BBE751-40BA-4F3A-B775-514FFCAF84A5}" destId="{37B8FB23-6940-4EFD-9E3D-AD38754762ED}" srcOrd="0" destOrd="0" parTransId="{E9FD1C79-D1BE-4F61-9E44-720C23C6EE72}" sibTransId="{CADA0AF9-CF6C-4EBF-AEC9-D40E0DE57609}"/>
    <dgm:cxn modelId="{0F4E73E4-827E-4249-A423-6B0AD56949FD}" type="presOf" srcId="{3F602FC5-D12C-4A17-A1BE-8BD51801B7BB}" destId="{3FAF5A62-3766-482D-AD25-D046E8F7346F}" srcOrd="1" destOrd="0" presId="urn:microsoft.com/office/officeart/2005/8/layout/radial5"/>
    <dgm:cxn modelId="{0A16B87A-E92A-4743-AEF5-0E20D920E23F}" type="presOf" srcId="{32432F78-FDF4-4A32-8820-04D08CCB11B9}" destId="{1ED3C99E-53E2-4D5B-B6C8-B509E6AD829D}" srcOrd="0" destOrd="0" presId="urn:microsoft.com/office/officeart/2005/8/layout/radial5"/>
    <dgm:cxn modelId="{6D11E728-A109-4CB2-A826-DA352C83727E}" srcId="{37B8FB23-6940-4EFD-9E3D-AD38754762ED}" destId="{65B49B16-13CF-4747-BD02-474D1AD68908}" srcOrd="1" destOrd="0" parTransId="{D612626B-0752-45F0-8F40-7ED58CC2DE0A}" sibTransId="{7B8D8BFD-04EB-4AF7-BED3-F17C20844A51}"/>
    <dgm:cxn modelId="{8B14E7E2-458F-4B01-9387-D08BEE9968C2}" type="presOf" srcId="{28BBE751-40BA-4F3A-B775-514FFCAF84A5}" destId="{01A1E584-7027-4F4F-9D19-AB91C793E39E}" srcOrd="0" destOrd="0" presId="urn:microsoft.com/office/officeart/2005/8/layout/radial5"/>
    <dgm:cxn modelId="{1858D0C0-4C74-45FF-BD61-FA0FF9BE9E25}" srcId="{37B8FB23-6940-4EFD-9E3D-AD38754762ED}" destId="{1D2D384A-5129-4593-B456-70DC2395030F}" srcOrd="4" destOrd="0" parTransId="{3F602FC5-D12C-4A17-A1BE-8BD51801B7BB}" sibTransId="{1FE9284A-E65E-4FA9-AFA7-3C090A37FF6E}"/>
    <dgm:cxn modelId="{8EF0E58D-AA7C-4E32-B4AD-24909310A960}" type="presOf" srcId="{D68DA3C6-21D2-4DB4-9900-9739089CA43D}" destId="{22A97D2F-7F57-464D-8AF9-8B57C64D749C}" srcOrd="0" destOrd="0" presId="urn:microsoft.com/office/officeart/2005/8/layout/radial5"/>
    <dgm:cxn modelId="{5C50794F-9E35-41ED-877F-B4D856266F08}" type="presOf" srcId="{D68DA3C6-21D2-4DB4-9900-9739089CA43D}" destId="{9BBAF4FB-2EA3-403A-B69B-F3ABB934C1A2}" srcOrd="1" destOrd="0" presId="urn:microsoft.com/office/officeart/2005/8/layout/radial5"/>
    <dgm:cxn modelId="{C9F4886F-D0EA-48B6-BA29-EBF141290343}" srcId="{37B8FB23-6940-4EFD-9E3D-AD38754762ED}" destId="{C289B048-E9E6-4D98-8C9F-200AD081EA7D}" srcOrd="0" destOrd="0" parTransId="{D68DA3C6-21D2-4DB4-9900-9739089CA43D}" sibTransId="{C0D5DC43-46C8-4BFF-A203-263797CDD77F}"/>
    <dgm:cxn modelId="{925074CB-8E07-4998-A793-CDB488D0A05E}" type="presOf" srcId="{C289B048-E9E6-4D98-8C9F-200AD081EA7D}" destId="{156D37E1-6D47-4272-891F-9F3FD888E74D}" srcOrd="0" destOrd="0" presId="urn:microsoft.com/office/officeart/2005/8/layout/radial5"/>
    <dgm:cxn modelId="{1B7BAF91-BDBC-49F0-BF63-CBAA529D6F7C}" type="presOf" srcId="{D612626B-0752-45F0-8F40-7ED58CC2DE0A}" destId="{D66D63BD-2CB2-473E-9A7A-C088545DAF13}" srcOrd="1" destOrd="0" presId="urn:microsoft.com/office/officeart/2005/8/layout/radial5"/>
    <dgm:cxn modelId="{560E4D82-7229-4A09-A3D9-FD94704232C5}" srcId="{37B8FB23-6940-4EFD-9E3D-AD38754762ED}" destId="{518092D3-612A-480E-9215-3CD3E3527C1E}" srcOrd="2" destOrd="0" parTransId="{B160E53A-BBE8-43CA-B8A8-3D28D8DD093B}" sibTransId="{E1E70186-9488-4E63-B7DC-54DBD28FDC62}"/>
    <dgm:cxn modelId="{9F755493-11B0-4E2E-B578-EE1D50F63DC5}" srcId="{37B8FB23-6940-4EFD-9E3D-AD38754762ED}" destId="{32432F78-FDF4-4A32-8820-04D08CCB11B9}" srcOrd="3" destOrd="0" parTransId="{63A29308-94DA-4990-879E-71709F5BA6DB}" sibTransId="{C1F01FA4-7D9A-468A-9E5B-EA3229CBFF3F}"/>
    <dgm:cxn modelId="{F8617591-7F3F-4FBD-950F-69B562B87109}" type="presOf" srcId="{518092D3-612A-480E-9215-3CD3E3527C1E}" destId="{B9CADB5A-EBC3-41D8-9E14-CE205E08AFB4}" srcOrd="0" destOrd="0" presId="urn:microsoft.com/office/officeart/2005/8/layout/radial5"/>
    <dgm:cxn modelId="{DCF88DE4-8394-4DBB-A49C-EC9F8D99051E}" type="presOf" srcId="{1D2D384A-5129-4593-B456-70DC2395030F}" destId="{0ED5CFE4-B2D4-4242-B6F2-F89B2387C75E}" srcOrd="0" destOrd="0" presId="urn:microsoft.com/office/officeart/2005/8/layout/radial5"/>
    <dgm:cxn modelId="{DF3FEC6D-A484-419A-84DB-1BB80404A004}" type="presOf" srcId="{3F602FC5-D12C-4A17-A1BE-8BD51801B7BB}" destId="{54C59373-6F6E-470A-B92E-AA0BDE08298C}" srcOrd="0" destOrd="0" presId="urn:microsoft.com/office/officeart/2005/8/layout/radial5"/>
    <dgm:cxn modelId="{937DD110-1988-4682-A6BE-97CDF0F0114D}" type="presOf" srcId="{65B49B16-13CF-4747-BD02-474D1AD68908}" destId="{9AFA3C1E-AC02-4CF2-A0FF-B693D8A5BE4B}" srcOrd="0" destOrd="0" presId="urn:microsoft.com/office/officeart/2005/8/layout/radial5"/>
    <dgm:cxn modelId="{DEF2C2CD-6688-4A3B-B87D-590DC438C7DA}" type="presOf" srcId="{63A29308-94DA-4990-879E-71709F5BA6DB}" destId="{F748C156-BB76-4D44-AB18-134B97B7FE19}" srcOrd="1" destOrd="0" presId="urn:microsoft.com/office/officeart/2005/8/layout/radial5"/>
    <dgm:cxn modelId="{765FD480-5F8C-4569-9ECF-7FEA994C30CE}" type="presParOf" srcId="{01A1E584-7027-4F4F-9D19-AB91C793E39E}" destId="{6BBCEDDA-5DF1-4D9E-A390-7E36350A09AC}" srcOrd="0" destOrd="0" presId="urn:microsoft.com/office/officeart/2005/8/layout/radial5"/>
    <dgm:cxn modelId="{D2E3D37B-B10A-478F-91F6-952A5A2A18D6}" type="presParOf" srcId="{01A1E584-7027-4F4F-9D19-AB91C793E39E}" destId="{22A97D2F-7F57-464D-8AF9-8B57C64D749C}" srcOrd="1" destOrd="0" presId="urn:microsoft.com/office/officeart/2005/8/layout/radial5"/>
    <dgm:cxn modelId="{28C10A38-2CA0-4704-995E-C4A6C5F20522}" type="presParOf" srcId="{22A97D2F-7F57-464D-8AF9-8B57C64D749C}" destId="{9BBAF4FB-2EA3-403A-B69B-F3ABB934C1A2}" srcOrd="0" destOrd="0" presId="urn:microsoft.com/office/officeart/2005/8/layout/radial5"/>
    <dgm:cxn modelId="{85DDC55C-B989-4384-B0EC-815B2457CCC5}" type="presParOf" srcId="{01A1E584-7027-4F4F-9D19-AB91C793E39E}" destId="{156D37E1-6D47-4272-891F-9F3FD888E74D}" srcOrd="2" destOrd="0" presId="urn:microsoft.com/office/officeart/2005/8/layout/radial5"/>
    <dgm:cxn modelId="{089FD886-3B2B-4A04-A12B-4433B41A0183}" type="presParOf" srcId="{01A1E584-7027-4F4F-9D19-AB91C793E39E}" destId="{F977E29B-63EB-41D0-A7D5-EE81E92B13AE}" srcOrd="3" destOrd="0" presId="urn:microsoft.com/office/officeart/2005/8/layout/radial5"/>
    <dgm:cxn modelId="{60E2494E-0B0C-44BF-972C-5076E0E2912C}" type="presParOf" srcId="{F977E29B-63EB-41D0-A7D5-EE81E92B13AE}" destId="{D66D63BD-2CB2-473E-9A7A-C088545DAF13}" srcOrd="0" destOrd="0" presId="urn:microsoft.com/office/officeart/2005/8/layout/radial5"/>
    <dgm:cxn modelId="{1D695EFA-5665-4AAB-B6AB-08808677331F}" type="presParOf" srcId="{01A1E584-7027-4F4F-9D19-AB91C793E39E}" destId="{9AFA3C1E-AC02-4CF2-A0FF-B693D8A5BE4B}" srcOrd="4" destOrd="0" presId="urn:microsoft.com/office/officeart/2005/8/layout/radial5"/>
    <dgm:cxn modelId="{F8AB6750-814C-42E7-B397-260F9B47A1A5}" type="presParOf" srcId="{01A1E584-7027-4F4F-9D19-AB91C793E39E}" destId="{6E67A66F-538B-4174-BD4D-C4DE94F68DC2}" srcOrd="5" destOrd="0" presId="urn:microsoft.com/office/officeart/2005/8/layout/radial5"/>
    <dgm:cxn modelId="{49B13A41-FC7E-47D7-A6C4-8A340F29488F}" type="presParOf" srcId="{6E67A66F-538B-4174-BD4D-C4DE94F68DC2}" destId="{DD86BA81-4E1A-40B0-B913-7BE2F9BF5093}" srcOrd="0" destOrd="0" presId="urn:microsoft.com/office/officeart/2005/8/layout/radial5"/>
    <dgm:cxn modelId="{A0FF48C0-00F0-4914-BE4A-6CBC09491FB0}" type="presParOf" srcId="{01A1E584-7027-4F4F-9D19-AB91C793E39E}" destId="{B9CADB5A-EBC3-41D8-9E14-CE205E08AFB4}" srcOrd="6" destOrd="0" presId="urn:microsoft.com/office/officeart/2005/8/layout/radial5"/>
    <dgm:cxn modelId="{BFAFAEA7-E89E-4F07-A7C2-8252E8E15074}" type="presParOf" srcId="{01A1E584-7027-4F4F-9D19-AB91C793E39E}" destId="{8917B607-9459-449F-80A9-EFECB33DA11C}" srcOrd="7" destOrd="0" presId="urn:microsoft.com/office/officeart/2005/8/layout/radial5"/>
    <dgm:cxn modelId="{1E3D86E8-3857-4AD3-A8AA-BE5D890D24E7}" type="presParOf" srcId="{8917B607-9459-449F-80A9-EFECB33DA11C}" destId="{F748C156-BB76-4D44-AB18-134B97B7FE19}" srcOrd="0" destOrd="0" presId="urn:microsoft.com/office/officeart/2005/8/layout/radial5"/>
    <dgm:cxn modelId="{0CAB8CB7-F9F0-429C-B3EA-5EC8B85E997D}" type="presParOf" srcId="{01A1E584-7027-4F4F-9D19-AB91C793E39E}" destId="{1ED3C99E-53E2-4D5B-B6C8-B509E6AD829D}" srcOrd="8" destOrd="0" presId="urn:microsoft.com/office/officeart/2005/8/layout/radial5"/>
    <dgm:cxn modelId="{757F255A-5388-460A-8C7C-075763AFFAEE}" type="presParOf" srcId="{01A1E584-7027-4F4F-9D19-AB91C793E39E}" destId="{54C59373-6F6E-470A-B92E-AA0BDE08298C}" srcOrd="9" destOrd="0" presId="urn:microsoft.com/office/officeart/2005/8/layout/radial5"/>
    <dgm:cxn modelId="{D2BE39A2-A998-484B-8951-0E7E7BC612DC}" type="presParOf" srcId="{54C59373-6F6E-470A-B92E-AA0BDE08298C}" destId="{3FAF5A62-3766-482D-AD25-D046E8F7346F}" srcOrd="0" destOrd="0" presId="urn:microsoft.com/office/officeart/2005/8/layout/radial5"/>
    <dgm:cxn modelId="{80835536-7B78-40C9-94CC-76C012B2C0D9}" type="presParOf" srcId="{01A1E584-7027-4F4F-9D19-AB91C793E39E}" destId="{0ED5CFE4-B2D4-4242-B6F2-F89B2387C75E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923212-5E87-4668-A097-3B295ACA002D}" type="doc">
      <dgm:prSet loTypeId="urn:microsoft.com/office/officeart/2005/8/layout/cycle6" loCatId="cycle" qsTypeId="urn:microsoft.com/office/officeart/2005/8/quickstyle/simple5" qsCatId="simple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9F2DA079-EE9B-49B9-9DA2-5F63AFC203BF}">
      <dgm:prSet phldrT="[Текст]"/>
      <dgm:spPr/>
      <dgm:t>
        <a:bodyPr/>
        <a:lstStyle/>
        <a:p>
          <a:r>
            <a:rPr lang="ru-RU" dirty="0" smtClean="0"/>
            <a:t>Отсутствие статуса</a:t>
          </a:r>
          <a:endParaRPr lang="ru-RU" dirty="0"/>
        </a:p>
      </dgm:t>
    </dgm:pt>
    <dgm:pt modelId="{21A47617-ED51-4A29-A92F-266D49B62383}" type="parTrans" cxnId="{806CBBCE-6B03-414E-8B59-E27CAA5BEB54}">
      <dgm:prSet/>
      <dgm:spPr/>
      <dgm:t>
        <a:bodyPr/>
        <a:lstStyle/>
        <a:p>
          <a:endParaRPr lang="ru-RU"/>
        </a:p>
      </dgm:t>
    </dgm:pt>
    <dgm:pt modelId="{D4B1E6F2-1578-4637-8007-E1ACF676DB10}" type="sibTrans" cxnId="{806CBBCE-6B03-414E-8B59-E27CAA5BEB54}">
      <dgm:prSet/>
      <dgm:spPr>
        <a:ln>
          <a:prstDash val="dash"/>
        </a:ln>
      </dgm:spPr>
      <dgm:t>
        <a:bodyPr/>
        <a:lstStyle/>
        <a:p>
          <a:endParaRPr lang="ru-RU"/>
        </a:p>
      </dgm:t>
    </dgm:pt>
    <dgm:pt modelId="{5E13114A-82B8-4286-98E2-57D63D170A61}">
      <dgm:prSet phldrT="[Текст]"/>
      <dgm:spPr/>
      <dgm:t>
        <a:bodyPr/>
        <a:lstStyle/>
        <a:p>
          <a:r>
            <a:rPr lang="ru-RU" dirty="0" smtClean="0"/>
            <a:t>Перенос данных вручную</a:t>
          </a:r>
          <a:endParaRPr lang="ru-RU" dirty="0"/>
        </a:p>
      </dgm:t>
    </dgm:pt>
    <dgm:pt modelId="{D9C11F4E-0570-41CB-BFF0-031ADAC55963}" type="parTrans" cxnId="{A6E97D16-70E3-4A56-B5E0-1FAC2E008D3D}">
      <dgm:prSet/>
      <dgm:spPr/>
      <dgm:t>
        <a:bodyPr/>
        <a:lstStyle/>
        <a:p>
          <a:endParaRPr lang="ru-RU"/>
        </a:p>
      </dgm:t>
    </dgm:pt>
    <dgm:pt modelId="{50A6D5C7-80BE-41BB-9654-0B9E3F9E73AA}" type="sibTrans" cxnId="{A6E97D16-70E3-4A56-B5E0-1FAC2E008D3D}">
      <dgm:prSet/>
      <dgm:spPr>
        <a:ln>
          <a:prstDash val="dash"/>
        </a:ln>
      </dgm:spPr>
      <dgm:t>
        <a:bodyPr/>
        <a:lstStyle/>
        <a:p>
          <a:endParaRPr lang="ru-RU"/>
        </a:p>
      </dgm:t>
    </dgm:pt>
    <dgm:pt modelId="{C1BF8D07-7B4E-46A8-A198-44F276ACF435}">
      <dgm:prSet phldrT="[Текст]"/>
      <dgm:spPr/>
      <dgm:t>
        <a:bodyPr/>
        <a:lstStyle/>
        <a:p>
          <a:r>
            <a:rPr lang="ru-RU" dirty="0" smtClean="0"/>
            <a:t>Ввод данных вручную</a:t>
          </a:r>
          <a:endParaRPr lang="ru-RU" dirty="0"/>
        </a:p>
      </dgm:t>
    </dgm:pt>
    <dgm:pt modelId="{E92E45F3-B94B-42F0-96CD-2B118E5CEA56}" type="parTrans" cxnId="{E437EFCF-D2B8-4AE0-9711-8670594A0E92}">
      <dgm:prSet/>
      <dgm:spPr/>
      <dgm:t>
        <a:bodyPr/>
        <a:lstStyle/>
        <a:p>
          <a:endParaRPr lang="ru-RU"/>
        </a:p>
      </dgm:t>
    </dgm:pt>
    <dgm:pt modelId="{37AA4C4D-2D3A-4F72-B489-48735C6B24F9}" type="sibTrans" cxnId="{E437EFCF-D2B8-4AE0-9711-8670594A0E92}">
      <dgm:prSet/>
      <dgm:spPr>
        <a:ln>
          <a:prstDash val="dash"/>
        </a:ln>
      </dgm:spPr>
      <dgm:t>
        <a:bodyPr/>
        <a:lstStyle/>
        <a:p>
          <a:endParaRPr lang="ru-RU"/>
        </a:p>
      </dgm:t>
    </dgm:pt>
    <dgm:pt modelId="{8A3C501D-C01D-4435-B8A3-33EA929A5234}">
      <dgm:prSet phldrT="[Текст]"/>
      <dgm:spPr/>
      <dgm:t>
        <a:bodyPr/>
        <a:lstStyle/>
        <a:p>
          <a:r>
            <a:rPr lang="ru-RU" dirty="0" smtClean="0"/>
            <a:t>Документы на бумаге</a:t>
          </a:r>
          <a:endParaRPr lang="ru-RU" dirty="0"/>
        </a:p>
      </dgm:t>
    </dgm:pt>
    <dgm:pt modelId="{E72D1433-BB91-4353-B2E6-51CA980FA96C}" type="parTrans" cxnId="{CF3B9660-6882-4B1F-8110-D8596920A1E5}">
      <dgm:prSet/>
      <dgm:spPr/>
      <dgm:t>
        <a:bodyPr/>
        <a:lstStyle/>
        <a:p>
          <a:endParaRPr lang="ru-RU"/>
        </a:p>
      </dgm:t>
    </dgm:pt>
    <dgm:pt modelId="{1520789C-7BAD-4CAF-B614-F22674414F61}" type="sibTrans" cxnId="{CF3B9660-6882-4B1F-8110-D8596920A1E5}">
      <dgm:prSet/>
      <dgm:spPr>
        <a:ln>
          <a:prstDash val="dash"/>
        </a:ln>
      </dgm:spPr>
      <dgm:t>
        <a:bodyPr/>
        <a:lstStyle/>
        <a:p>
          <a:endParaRPr lang="ru-RU"/>
        </a:p>
      </dgm:t>
    </dgm:pt>
    <dgm:pt modelId="{B38C089F-C47B-4235-857E-F1FA09782457}">
      <dgm:prSet phldrT="[Текст]"/>
      <dgm:spPr/>
      <dgm:t>
        <a:bodyPr/>
        <a:lstStyle/>
        <a:p>
          <a:r>
            <a:rPr lang="ru-RU" dirty="0" smtClean="0"/>
            <a:t>Медленная сверка</a:t>
          </a:r>
          <a:endParaRPr lang="ru-RU" dirty="0"/>
        </a:p>
      </dgm:t>
    </dgm:pt>
    <dgm:pt modelId="{D218CA8A-B78F-42DF-BA18-80B0A6F9750A}" type="parTrans" cxnId="{A78C3A72-6849-4624-95AD-2F2DC9160D1C}">
      <dgm:prSet/>
      <dgm:spPr/>
      <dgm:t>
        <a:bodyPr/>
        <a:lstStyle/>
        <a:p>
          <a:endParaRPr lang="ru-RU"/>
        </a:p>
      </dgm:t>
    </dgm:pt>
    <dgm:pt modelId="{B351FEC7-425B-4D36-BF1A-73FEF295F366}" type="sibTrans" cxnId="{A78C3A72-6849-4624-95AD-2F2DC9160D1C}">
      <dgm:prSet/>
      <dgm:spPr>
        <a:ln>
          <a:prstDash val="dash"/>
        </a:ln>
      </dgm:spPr>
      <dgm:t>
        <a:bodyPr/>
        <a:lstStyle/>
        <a:p>
          <a:endParaRPr lang="ru-RU"/>
        </a:p>
      </dgm:t>
    </dgm:pt>
    <dgm:pt modelId="{4B99D5AD-57B2-4DD6-B352-0343B108CF74}" type="pres">
      <dgm:prSet presAssocID="{2B923212-5E87-4668-A097-3B295ACA002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41E50C4-5164-4AA6-9EE0-73333705EC8A}" type="pres">
      <dgm:prSet presAssocID="{9F2DA079-EE9B-49B9-9DA2-5F63AFC203BF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E0C5B8-34C1-49D6-ACA6-F1B84A48193E}" type="pres">
      <dgm:prSet presAssocID="{9F2DA079-EE9B-49B9-9DA2-5F63AFC203BF}" presName="spNode" presStyleCnt="0"/>
      <dgm:spPr/>
    </dgm:pt>
    <dgm:pt modelId="{7A93E459-9288-482B-9FC5-A1F0F740E98F}" type="pres">
      <dgm:prSet presAssocID="{D4B1E6F2-1578-4637-8007-E1ACF676DB10}" presName="sibTrans" presStyleLbl="sibTrans1D1" presStyleIdx="0" presStyleCnt="5"/>
      <dgm:spPr/>
      <dgm:t>
        <a:bodyPr/>
        <a:lstStyle/>
        <a:p>
          <a:endParaRPr lang="ru-RU"/>
        </a:p>
      </dgm:t>
    </dgm:pt>
    <dgm:pt modelId="{6B55D07F-D729-45E1-8E81-55090B09E7C2}" type="pres">
      <dgm:prSet presAssocID="{5E13114A-82B8-4286-98E2-57D63D170A61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1E1BF9-5121-4CB7-A568-63F24E4999AF}" type="pres">
      <dgm:prSet presAssocID="{5E13114A-82B8-4286-98E2-57D63D170A61}" presName="spNode" presStyleCnt="0"/>
      <dgm:spPr/>
    </dgm:pt>
    <dgm:pt modelId="{49DB73A5-0269-4D4A-9820-2738736C1E5C}" type="pres">
      <dgm:prSet presAssocID="{50A6D5C7-80BE-41BB-9654-0B9E3F9E73AA}" presName="sibTrans" presStyleLbl="sibTrans1D1" presStyleIdx="1" presStyleCnt="5"/>
      <dgm:spPr/>
      <dgm:t>
        <a:bodyPr/>
        <a:lstStyle/>
        <a:p>
          <a:endParaRPr lang="ru-RU"/>
        </a:p>
      </dgm:t>
    </dgm:pt>
    <dgm:pt modelId="{96C9C6C5-3318-4373-944D-0C0B0C397C4B}" type="pres">
      <dgm:prSet presAssocID="{C1BF8D07-7B4E-46A8-A198-44F276ACF435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9624DB-B7C8-4A17-8425-5D4154416699}" type="pres">
      <dgm:prSet presAssocID="{C1BF8D07-7B4E-46A8-A198-44F276ACF435}" presName="spNode" presStyleCnt="0"/>
      <dgm:spPr/>
    </dgm:pt>
    <dgm:pt modelId="{C883C642-8BBF-4415-8824-C663A811221B}" type="pres">
      <dgm:prSet presAssocID="{37AA4C4D-2D3A-4F72-B489-48735C6B24F9}" presName="sibTrans" presStyleLbl="sibTrans1D1" presStyleIdx="2" presStyleCnt="5"/>
      <dgm:spPr/>
      <dgm:t>
        <a:bodyPr/>
        <a:lstStyle/>
        <a:p>
          <a:endParaRPr lang="ru-RU"/>
        </a:p>
      </dgm:t>
    </dgm:pt>
    <dgm:pt modelId="{BA9D8C13-46A7-437A-92EF-9324FB358B81}" type="pres">
      <dgm:prSet presAssocID="{8A3C501D-C01D-4435-B8A3-33EA929A5234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2418BF-C13C-44DA-8A07-02A0A34A5E7B}" type="pres">
      <dgm:prSet presAssocID="{8A3C501D-C01D-4435-B8A3-33EA929A5234}" presName="spNode" presStyleCnt="0"/>
      <dgm:spPr/>
    </dgm:pt>
    <dgm:pt modelId="{3B42FF13-1579-46F5-9338-784B4696517F}" type="pres">
      <dgm:prSet presAssocID="{1520789C-7BAD-4CAF-B614-F22674414F61}" presName="sibTrans" presStyleLbl="sibTrans1D1" presStyleIdx="3" presStyleCnt="5"/>
      <dgm:spPr/>
      <dgm:t>
        <a:bodyPr/>
        <a:lstStyle/>
        <a:p>
          <a:endParaRPr lang="ru-RU"/>
        </a:p>
      </dgm:t>
    </dgm:pt>
    <dgm:pt modelId="{905B7EF5-F6A3-433F-9704-168095CEE0B9}" type="pres">
      <dgm:prSet presAssocID="{B38C089F-C47B-4235-857E-F1FA09782457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1FB5C3-8CDE-46ED-A08C-9646C18D8CE1}" type="pres">
      <dgm:prSet presAssocID="{B38C089F-C47B-4235-857E-F1FA09782457}" presName="spNode" presStyleCnt="0"/>
      <dgm:spPr/>
    </dgm:pt>
    <dgm:pt modelId="{76746968-160F-4C34-B2F9-E2A7E73FB3BF}" type="pres">
      <dgm:prSet presAssocID="{B351FEC7-425B-4D36-BF1A-73FEF295F366}" presName="sibTrans" presStyleLbl="sibTrans1D1" presStyleIdx="4" presStyleCnt="5"/>
      <dgm:spPr/>
      <dgm:t>
        <a:bodyPr/>
        <a:lstStyle/>
        <a:p>
          <a:endParaRPr lang="ru-RU"/>
        </a:p>
      </dgm:t>
    </dgm:pt>
  </dgm:ptLst>
  <dgm:cxnLst>
    <dgm:cxn modelId="{CF3B9660-6882-4B1F-8110-D8596920A1E5}" srcId="{2B923212-5E87-4668-A097-3B295ACA002D}" destId="{8A3C501D-C01D-4435-B8A3-33EA929A5234}" srcOrd="3" destOrd="0" parTransId="{E72D1433-BB91-4353-B2E6-51CA980FA96C}" sibTransId="{1520789C-7BAD-4CAF-B614-F22674414F61}"/>
    <dgm:cxn modelId="{789BFD81-6259-409B-A63A-9CE6B75862B5}" type="presOf" srcId="{9F2DA079-EE9B-49B9-9DA2-5F63AFC203BF}" destId="{E41E50C4-5164-4AA6-9EE0-73333705EC8A}" srcOrd="0" destOrd="0" presId="urn:microsoft.com/office/officeart/2005/8/layout/cycle6"/>
    <dgm:cxn modelId="{806CBBCE-6B03-414E-8B59-E27CAA5BEB54}" srcId="{2B923212-5E87-4668-A097-3B295ACA002D}" destId="{9F2DA079-EE9B-49B9-9DA2-5F63AFC203BF}" srcOrd="0" destOrd="0" parTransId="{21A47617-ED51-4A29-A92F-266D49B62383}" sibTransId="{D4B1E6F2-1578-4637-8007-E1ACF676DB10}"/>
    <dgm:cxn modelId="{B0C8D970-725E-41DD-8689-D9F048EF01CF}" type="presOf" srcId="{D4B1E6F2-1578-4637-8007-E1ACF676DB10}" destId="{7A93E459-9288-482B-9FC5-A1F0F740E98F}" srcOrd="0" destOrd="0" presId="urn:microsoft.com/office/officeart/2005/8/layout/cycle6"/>
    <dgm:cxn modelId="{E437EFCF-D2B8-4AE0-9711-8670594A0E92}" srcId="{2B923212-5E87-4668-A097-3B295ACA002D}" destId="{C1BF8D07-7B4E-46A8-A198-44F276ACF435}" srcOrd="2" destOrd="0" parTransId="{E92E45F3-B94B-42F0-96CD-2B118E5CEA56}" sibTransId="{37AA4C4D-2D3A-4F72-B489-48735C6B24F9}"/>
    <dgm:cxn modelId="{A6E97D16-70E3-4A56-B5E0-1FAC2E008D3D}" srcId="{2B923212-5E87-4668-A097-3B295ACA002D}" destId="{5E13114A-82B8-4286-98E2-57D63D170A61}" srcOrd="1" destOrd="0" parTransId="{D9C11F4E-0570-41CB-BFF0-031ADAC55963}" sibTransId="{50A6D5C7-80BE-41BB-9654-0B9E3F9E73AA}"/>
    <dgm:cxn modelId="{8974828D-189F-4791-A37C-1A41664F6163}" type="presOf" srcId="{2B923212-5E87-4668-A097-3B295ACA002D}" destId="{4B99D5AD-57B2-4DD6-B352-0343B108CF74}" srcOrd="0" destOrd="0" presId="urn:microsoft.com/office/officeart/2005/8/layout/cycle6"/>
    <dgm:cxn modelId="{B8ED095F-AE68-4A88-AB2E-94C04ECB5F1B}" type="presOf" srcId="{8A3C501D-C01D-4435-B8A3-33EA929A5234}" destId="{BA9D8C13-46A7-437A-92EF-9324FB358B81}" srcOrd="0" destOrd="0" presId="urn:microsoft.com/office/officeart/2005/8/layout/cycle6"/>
    <dgm:cxn modelId="{9A86E493-E161-466B-A986-3A1770E14DDD}" type="presOf" srcId="{5E13114A-82B8-4286-98E2-57D63D170A61}" destId="{6B55D07F-D729-45E1-8E81-55090B09E7C2}" srcOrd="0" destOrd="0" presId="urn:microsoft.com/office/officeart/2005/8/layout/cycle6"/>
    <dgm:cxn modelId="{3E681311-5B32-41E2-BACB-2403D37D2907}" type="presOf" srcId="{37AA4C4D-2D3A-4F72-B489-48735C6B24F9}" destId="{C883C642-8BBF-4415-8824-C663A811221B}" srcOrd="0" destOrd="0" presId="urn:microsoft.com/office/officeart/2005/8/layout/cycle6"/>
    <dgm:cxn modelId="{6F656F2F-C48C-4549-B306-5B405CD35D7F}" type="presOf" srcId="{C1BF8D07-7B4E-46A8-A198-44F276ACF435}" destId="{96C9C6C5-3318-4373-944D-0C0B0C397C4B}" srcOrd="0" destOrd="0" presId="urn:microsoft.com/office/officeart/2005/8/layout/cycle6"/>
    <dgm:cxn modelId="{4A7A0FD3-5A6E-47B1-8662-98F3D86D8C65}" type="presOf" srcId="{B38C089F-C47B-4235-857E-F1FA09782457}" destId="{905B7EF5-F6A3-433F-9704-168095CEE0B9}" srcOrd="0" destOrd="0" presId="urn:microsoft.com/office/officeart/2005/8/layout/cycle6"/>
    <dgm:cxn modelId="{8E4E8D6F-9F27-4F4E-94B9-CF4DB6FC9DE2}" type="presOf" srcId="{50A6D5C7-80BE-41BB-9654-0B9E3F9E73AA}" destId="{49DB73A5-0269-4D4A-9820-2738736C1E5C}" srcOrd="0" destOrd="0" presId="urn:microsoft.com/office/officeart/2005/8/layout/cycle6"/>
    <dgm:cxn modelId="{2D2DB413-B203-4401-B298-F8ED51E915BF}" type="presOf" srcId="{1520789C-7BAD-4CAF-B614-F22674414F61}" destId="{3B42FF13-1579-46F5-9338-784B4696517F}" srcOrd="0" destOrd="0" presId="urn:microsoft.com/office/officeart/2005/8/layout/cycle6"/>
    <dgm:cxn modelId="{A78C3A72-6849-4624-95AD-2F2DC9160D1C}" srcId="{2B923212-5E87-4668-A097-3B295ACA002D}" destId="{B38C089F-C47B-4235-857E-F1FA09782457}" srcOrd="4" destOrd="0" parTransId="{D218CA8A-B78F-42DF-BA18-80B0A6F9750A}" sibTransId="{B351FEC7-425B-4D36-BF1A-73FEF295F366}"/>
    <dgm:cxn modelId="{C2933E8D-175D-45B8-8A68-08C41A1BBB79}" type="presOf" srcId="{B351FEC7-425B-4D36-BF1A-73FEF295F366}" destId="{76746968-160F-4C34-B2F9-E2A7E73FB3BF}" srcOrd="0" destOrd="0" presId="urn:microsoft.com/office/officeart/2005/8/layout/cycle6"/>
    <dgm:cxn modelId="{82440560-C45F-4E27-91A5-748152CF5695}" type="presParOf" srcId="{4B99D5AD-57B2-4DD6-B352-0343B108CF74}" destId="{E41E50C4-5164-4AA6-9EE0-73333705EC8A}" srcOrd="0" destOrd="0" presId="urn:microsoft.com/office/officeart/2005/8/layout/cycle6"/>
    <dgm:cxn modelId="{57BA57F4-EA76-4882-B98F-BE70050E4439}" type="presParOf" srcId="{4B99D5AD-57B2-4DD6-B352-0343B108CF74}" destId="{2DE0C5B8-34C1-49D6-ACA6-F1B84A48193E}" srcOrd="1" destOrd="0" presId="urn:microsoft.com/office/officeart/2005/8/layout/cycle6"/>
    <dgm:cxn modelId="{2890E5C3-CBA6-4307-8119-3D3825AFD8E6}" type="presParOf" srcId="{4B99D5AD-57B2-4DD6-B352-0343B108CF74}" destId="{7A93E459-9288-482B-9FC5-A1F0F740E98F}" srcOrd="2" destOrd="0" presId="urn:microsoft.com/office/officeart/2005/8/layout/cycle6"/>
    <dgm:cxn modelId="{4E93384C-752B-4C13-8E69-ED159EDD5FCB}" type="presParOf" srcId="{4B99D5AD-57B2-4DD6-B352-0343B108CF74}" destId="{6B55D07F-D729-45E1-8E81-55090B09E7C2}" srcOrd="3" destOrd="0" presId="urn:microsoft.com/office/officeart/2005/8/layout/cycle6"/>
    <dgm:cxn modelId="{886B29E8-C69F-450A-8A40-A05304793A5E}" type="presParOf" srcId="{4B99D5AD-57B2-4DD6-B352-0343B108CF74}" destId="{E81E1BF9-5121-4CB7-A568-63F24E4999AF}" srcOrd="4" destOrd="0" presId="urn:microsoft.com/office/officeart/2005/8/layout/cycle6"/>
    <dgm:cxn modelId="{0AACA02C-2A2F-4F4C-93E6-58843871E40C}" type="presParOf" srcId="{4B99D5AD-57B2-4DD6-B352-0343B108CF74}" destId="{49DB73A5-0269-4D4A-9820-2738736C1E5C}" srcOrd="5" destOrd="0" presId="urn:microsoft.com/office/officeart/2005/8/layout/cycle6"/>
    <dgm:cxn modelId="{618AC03C-F058-45D8-A047-267687EBCDA3}" type="presParOf" srcId="{4B99D5AD-57B2-4DD6-B352-0343B108CF74}" destId="{96C9C6C5-3318-4373-944D-0C0B0C397C4B}" srcOrd="6" destOrd="0" presId="urn:microsoft.com/office/officeart/2005/8/layout/cycle6"/>
    <dgm:cxn modelId="{9A669745-7319-4EA0-8021-781D4C94EA24}" type="presParOf" srcId="{4B99D5AD-57B2-4DD6-B352-0343B108CF74}" destId="{159624DB-B7C8-4A17-8425-5D4154416699}" srcOrd="7" destOrd="0" presId="urn:microsoft.com/office/officeart/2005/8/layout/cycle6"/>
    <dgm:cxn modelId="{ABA04B70-629C-4FFD-A1B1-A3C509158668}" type="presParOf" srcId="{4B99D5AD-57B2-4DD6-B352-0343B108CF74}" destId="{C883C642-8BBF-4415-8824-C663A811221B}" srcOrd="8" destOrd="0" presId="urn:microsoft.com/office/officeart/2005/8/layout/cycle6"/>
    <dgm:cxn modelId="{81F8DD7D-ACC4-4345-B79E-BCBD8288C1F2}" type="presParOf" srcId="{4B99D5AD-57B2-4DD6-B352-0343B108CF74}" destId="{BA9D8C13-46A7-437A-92EF-9324FB358B81}" srcOrd="9" destOrd="0" presId="urn:microsoft.com/office/officeart/2005/8/layout/cycle6"/>
    <dgm:cxn modelId="{434F9D59-A107-44D5-88B4-C730C402E454}" type="presParOf" srcId="{4B99D5AD-57B2-4DD6-B352-0343B108CF74}" destId="{252418BF-C13C-44DA-8A07-02A0A34A5E7B}" srcOrd="10" destOrd="0" presId="urn:microsoft.com/office/officeart/2005/8/layout/cycle6"/>
    <dgm:cxn modelId="{34D866C3-9CEE-491B-AED7-124CDEFF8864}" type="presParOf" srcId="{4B99D5AD-57B2-4DD6-B352-0343B108CF74}" destId="{3B42FF13-1579-46F5-9338-784B4696517F}" srcOrd="11" destOrd="0" presId="urn:microsoft.com/office/officeart/2005/8/layout/cycle6"/>
    <dgm:cxn modelId="{2E53EDCE-20A5-43A9-B840-7F3EBAA05825}" type="presParOf" srcId="{4B99D5AD-57B2-4DD6-B352-0343B108CF74}" destId="{905B7EF5-F6A3-433F-9704-168095CEE0B9}" srcOrd="12" destOrd="0" presId="urn:microsoft.com/office/officeart/2005/8/layout/cycle6"/>
    <dgm:cxn modelId="{191824DC-02FB-4556-AE8F-A2F154C2C245}" type="presParOf" srcId="{4B99D5AD-57B2-4DD6-B352-0343B108CF74}" destId="{AA1FB5C3-8CDE-46ED-A08C-9646C18D8CE1}" srcOrd="13" destOrd="0" presId="urn:microsoft.com/office/officeart/2005/8/layout/cycle6"/>
    <dgm:cxn modelId="{68F4E7ED-39E0-473E-B33B-B109A797A071}" type="presParOf" srcId="{4B99D5AD-57B2-4DD6-B352-0343B108CF74}" destId="{76746968-160F-4C34-B2F9-E2A7E73FB3BF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2A70C7C-1200-4284-9574-1D840D96D88D}" type="doc">
      <dgm:prSet loTypeId="urn:microsoft.com/office/officeart/2005/8/layout/process5" loCatId="process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63787730-6A12-4DA7-9E1D-A478104B3D05}">
      <dgm:prSet phldrT="[Текст]"/>
      <dgm:spPr/>
      <dgm:t>
        <a:bodyPr/>
        <a:lstStyle/>
        <a:p>
          <a:r>
            <a:rPr lang="ru-RU" dirty="0" smtClean="0"/>
            <a:t>Планирование закупок</a:t>
          </a:r>
          <a:endParaRPr lang="ru-RU" dirty="0"/>
        </a:p>
      </dgm:t>
    </dgm:pt>
    <dgm:pt modelId="{526744E0-CB04-4790-80FD-346468065FAB}" type="parTrans" cxnId="{2342FC36-0A19-4454-9B60-3B8DEC868953}">
      <dgm:prSet/>
      <dgm:spPr/>
      <dgm:t>
        <a:bodyPr/>
        <a:lstStyle/>
        <a:p>
          <a:endParaRPr lang="ru-RU"/>
        </a:p>
      </dgm:t>
    </dgm:pt>
    <dgm:pt modelId="{55FA1D25-71EB-41EC-8420-936000086EEC}" type="sibTrans" cxnId="{2342FC36-0A19-4454-9B60-3B8DEC868953}">
      <dgm:prSet/>
      <dgm:spPr/>
      <dgm:t>
        <a:bodyPr/>
        <a:lstStyle/>
        <a:p>
          <a:endParaRPr lang="ru-RU"/>
        </a:p>
      </dgm:t>
    </dgm:pt>
    <dgm:pt modelId="{2FFA74A3-C6F1-4658-AA58-DAB2C407C817}">
      <dgm:prSet phldrT="[Текст]"/>
      <dgm:spPr/>
      <dgm:t>
        <a:bodyPr/>
        <a:lstStyle/>
        <a:p>
          <a:r>
            <a:rPr lang="ru-RU" dirty="0" smtClean="0"/>
            <a:t>Формирование закупочной документации</a:t>
          </a:r>
          <a:endParaRPr lang="ru-RU" dirty="0"/>
        </a:p>
      </dgm:t>
    </dgm:pt>
    <dgm:pt modelId="{303E6D67-CBA7-400A-971D-8D4BBABF11AE}" type="parTrans" cxnId="{E7580433-D23B-4857-AE74-184D9ADC7B69}">
      <dgm:prSet/>
      <dgm:spPr/>
      <dgm:t>
        <a:bodyPr/>
        <a:lstStyle/>
        <a:p>
          <a:endParaRPr lang="ru-RU"/>
        </a:p>
      </dgm:t>
    </dgm:pt>
    <dgm:pt modelId="{DD6AF92D-F279-41F2-BEA6-67A271514ABE}" type="sibTrans" cxnId="{E7580433-D23B-4857-AE74-184D9ADC7B69}">
      <dgm:prSet/>
      <dgm:spPr/>
      <dgm:t>
        <a:bodyPr/>
        <a:lstStyle/>
        <a:p>
          <a:endParaRPr lang="ru-RU"/>
        </a:p>
      </dgm:t>
    </dgm:pt>
    <dgm:pt modelId="{DD45326F-4475-4128-9A9F-A5E603CFC0D8}">
      <dgm:prSet phldrT="[Текст]"/>
      <dgm:spPr/>
      <dgm:t>
        <a:bodyPr/>
        <a:lstStyle/>
        <a:p>
          <a:r>
            <a:rPr lang="ru-RU" dirty="0" smtClean="0"/>
            <a:t>Внутреннее согласование закупочной документации</a:t>
          </a:r>
          <a:endParaRPr lang="ru-RU" dirty="0"/>
        </a:p>
      </dgm:t>
    </dgm:pt>
    <dgm:pt modelId="{B977B93D-1BF3-4C6A-8A43-097067CE1689}" type="parTrans" cxnId="{66D6ADA9-3192-4C93-9090-856ED117D8FF}">
      <dgm:prSet/>
      <dgm:spPr/>
      <dgm:t>
        <a:bodyPr/>
        <a:lstStyle/>
        <a:p>
          <a:endParaRPr lang="ru-RU"/>
        </a:p>
      </dgm:t>
    </dgm:pt>
    <dgm:pt modelId="{49F793AB-A2D2-40FC-9C2E-0F1464E2EA5A}" type="sibTrans" cxnId="{66D6ADA9-3192-4C93-9090-856ED117D8FF}">
      <dgm:prSet/>
      <dgm:spPr/>
      <dgm:t>
        <a:bodyPr/>
        <a:lstStyle/>
        <a:p>
          <a:endParaRPr lang="ru-RU"/>
        </a:p>
      </dgm:t>
    </dgm:pt>
    <dgm:pt modelId="{CBA4FD5F-2296-4072-987E-BD86707C0361}">
      <dgm:prSet phldrT="[Текст]"/>
      <dgm:spPr/>
      <dgm:t>
        <a:bodyPr/>
        <a:lstStyle/>
        <a:p>
          <a:r>
            <a:rPr lang="ru-RU" dirty="0" smtClean="0"/>
            <a:t>Объявление торговой процедуры</a:t>
          </a:r>
          <a:endParaRPr lang="ru-RU" dirty="0"/>
        </a:p>
      </dgm:t>
    </dgm:pt>
    <dgm:pt modelId="{825FCB06-6B4F-45C1-9212-CA0E4497884B}" type="parTrans" cxnId="{4217F4D7-763F-4883-8E7A-997361E95C28}">
      <dgm:prSet/>
      <dgm:spPr/>
      <dgm:t>
        <a:bodyPr/>
        <a:lstStyle/>
        <a:p>
          <a:endParaRPr lang="ru-RU"/>
        </a:p>
      </dgm:t>
    </dgm:pt>
    <dgm:pt modelId="{5B202B59-7524-43DF-871D-1FB28A058286}" type="sibTrans" cxnId="{4217F4D7-763F-4883-8E7A-997361E95C28}">
      <dgm:prSet/>
      <dgm:spPr/>
      <dgm:t>
        <a:bodyPr/>
        <a:lstStyle/>
        <a:p>
          <a:endParaRPr lang="ru-RU"/>
        </a:p>
      </dgm:t>
    </dgm:pt>
    <dgm:pt modelId="{C9B2E4D7-9EDA-4C0C-B364-D14B9599DD3B}">
      <dgm:prSet phldrT="[Текст]"/>
      <dgm:spPr/>
      <dgm:t>
        <a:bodyPr/>
        <a:lstStyle/>
        <a:p>
          <a:r>
            <a:rPr lang="ru-RU" dirty="0" smtClean="0"/>
            <a:t>Рассмотрение предложений</a:t>
          </a:r>
          <a:endParaRPr lang="ru-RU" dirty="0"/>
        </a:p>
      </dgm:t>
    </dgm:pt>
    <dgm:pt modelId="{34A616A2-B5BA-4CC3-A160-3DC0033F559D}" type="parTrans" cxnId="{3577EAE4-BE7B-4B34-8E4C-5CAC60EE5B96}">
      <dgm:prSet/>
      <dgm:spPr/>
      <dgm:t>
        <a:bodyPr/>
        <a:lstStyle/>
        <a:p>
          <a:endParaRPr lang="ru-RU"/>
        </a:p>
      </dgm:t>
    </dgm:pt>
    <dgm:pt modelId="{6C4F588B-CAB0-496A-8E8E-104631100178}" type="sibTrans" cxnId="{3577EAE4-BE7B-4B34-8E4C-5CAC60EE5B96}">
      <dgm:prSet/>
      <dgm:spPr/>
      <dgm:t>
        <a:bodyPr/>
        <a:lstStyle/>
        <a:p>
          <a:endParaRPr lang="ru-RU"/>
        </a:p>
      </dgm:t>
    </dgm:pt>
    <dgm:pt modelId="{78AC6CF0-344B-4826-BA5E-3F905E374672}">
      <dgm:prSet phldrT="[Текст]"/>
      <dgm:spPr/>
      <dgm:t>
        <a:bodyPr/>
        <a:lstStyle/>
        <a:p>
          <a:r>
            <a:rPr lang="ru-RU" dirty="0" smtClean="0"/>
            <a:t>Подведение итогов</a:t>
          </a:r>
          <a:endParaRPr lang="ru-RU" dirty="0"/>
        </a:p>
      </dgm:t>
    </dgm:pt>
    <dgm:pt modelId="{B51AA9A1-9B90-4623-9860-5A50FEEE0A35}" type="parTrans" cxnId="{6328894B-8D3E-40BC-AF4A-5D90AF0F5B9C}">
      <dgm:prSet/>
      <dgm:spPr/>
      <dgm:t>
        <a:bodyPr/>
        <a:lstStyle/>
        <a:p>
          <a:endParaRPr lang="ru-RU"/>
        </a:p>
      </dgm:t>
    </dgm:pt>
    <dgm:pt modelId="{7697A257-2CC8-4038-889A-EC57159B8F99}" type="sibTrans" cxnId="{6328894B-8D3E-40BC-AF4A-5D90AF0F5B9C}">
      <dgm:prSet/>
      <dgm:spPr/>
      <dgm:t>
        <a:bodyPr/>
        <a:lstStyle/>
        <a:p>
          <a:endParaRPr lang="ru-RU"/>
        </a:p>
      </dgm:t>
    </dgm:pt>
    <dgm:pt modelId="{3C7C2EF4-E46E-4889-83DD-F138EE782346}">
      <dgm:prSet phldrT="[Текст]"/>
      <dgm:spPr/>
      <dgm:t>
        <a:bodyPr/>
        <a:lstStyle/>
        <a:p>
          <a:r>
            <a:rPr lang="ru-RU" dirty="0" smtClean="0"/>
            <a:t>Формирование договора</a:t>
          </a:r>
          <a:endParaRPr lang="ru-RU" dirty="0"/>
        </a:p>
      </dgm:t>
    </dgm:pt>
    <dgm:pt modelId="{9C4966FB-F13B-41B4-AE0B-828E1C6A7330}" type="parTrans" cxnId="{4593196C-2BFB-490C-BDEF-3E26E8A6C6B9}">
      <dgm:prSet/>
      <dgm:spPr/>
      <dgm:t>
        <a:bodyPr/>
        <a:lstStyle/>
        <a:p>
          <a:endParaRPr lang="ru-RU"/>
        </a:p>
      </dgm:t>
    </dgm:pt>
    <dgm:pt modelId="{BC050E65-E173-4CE8-8C0F-F6CAD53B2ECC}" type="sibTrans" cxnId="{4593196C-2BFB-490C-BDEF-3E26E8A6C6B9}">
      <dgm:prSet/>
      <dgm:spPr/>
      <dgm:t>
        <a:bodyPr/>
        <a:lstStyle/>
        <a:p>
          <a:endParaRPr lang="ru-RU"/>
        </a:p>
      </dgm:t>
    </dgm:pt>
    <dgm:pt modelId="{7A777EB8-2430-490B-AC5E-55A551C6F8A9}">
      <dgm:prSet phldrT="[Текст]"/>
      <dgm:spPr/>
      <dgm:t>
        <a:bodyPr/>
        <a:lstStyle/>
        <a:p>
          <a:r>
            <a:rPr lang="ru-RU" dirty="0" smtClean="0"/>
            <a:t>Внутреннее согласование договора</a:t>
          </a:r>
          <a:endParaRPr lang="ru-RU" dirty="0"/>
        </a:p>
      </dgm:t>
    </dgm:pt>
    <dgm:pt modelId="{34A8D547-ECEE-40AB-A1CA-8ADB90D1181E}" type="parTrans" cxnId="{CD95A128-A2E1-4453-ADEF-FC0456D1D043}">
      <dgm:prSet/>
      <dgm:spPr/>
      <dgm:t>
        <a:bodyPr/>
        <a:lstStyle/>
        <a:p>
          <a:endParaRPr lang="ru-RU"/>
        </a:p>
      </dgm:t>
    </dgm:pt>
    <dgm:pt modelId="{CF84E7E5-DDD6-46C2-938C-09A17A08C629}" type="sibTrans" cxnId="{CD95A128-A2E1-4453-ADEF-FC0456D1D043}">
      <dgm:prSet/>
      <dgm:spPr/>
      <dgm:t>
        <a:bodyPr/>
        <a:lstStyle/>
        <a:p>
          <a:endParaRPr lang="ru-RU"/>
        </a:p>
      </dgm:t>
    </dgm:pt>
    <dgm:pt modelId="{2D111196-6D81-4EA7-87B3-AEF4289A31CF}">
      <dgm:prSet phldrT="[Текст]"/>
      <dgm:spPr/>
      <dgm:t>
        <a:bodyPr/>
        <a:lstStyle/>
        <a:p>
          <a:r>
            <a:rPr lang="ru-RU" dirty="0" smtClean="0"/>
            <a:t>Согласование договора с поставщиками и подписание</a:t>
          </a:r>
          <a:endParaRPr lang="ru-RU" dirty="0"/>
        </a:p>
      </dgm:t>
    </dgm:pt>
    <dgm:pt modelId="{9B932BB8-1455-467C-8B50-42BC1C7947D9}" type="parTrans" cxnId="{356AB8B9-59D6-4FB1-8416-7094C69B11C6}">
      <dgm:prSet/>
      <dgm:spPr/>
      <dgm:t>
        <a:bodyPr/>
        <a:lstStyle/>
        <a:p>
          <a:endParaRPr lang="ru-RU"/>
        </a:p>
      </dgm:t>
    </dgm:pt>
    <dgm:pt modelId="{C600860E-443D-4A57-95A6-40CC25BD8F53}" type="sibTrans" cxnId="{356AB8B9-59D6-4FB1-8416-7094C69B11C6}">
      <dgm:prSet/>
      <dgm:spPr/>
      <dgm:t>
        <a:bodyPr/>
        <a:lstStyle/>
        <a:p>
          <a:endParaRPr lang="ru-RU"/>
        </a:p>
      </dgm:t>
    </dgm:pt>
    <dgm:pt modelId="{45AA8397-0531-4A75-BE4F-20141FA88768}">
      <dgm:prSet phldrT="[Текст]"/>
      <dgm:spPr/>
      <dgm:t>
        <a:bodyPr/>
        <a:lstStyle/>
        <a:p>
          <a:r>
            <a:rPr lang="ru-RU" dirty="0" smtClean="0"/>
            <a:t>Обмен финансовыми документами</a:t>
          </a:r>
          <a:endParaRPr lang="ru-RU" dirty="0"/>
        </a:p>
      </dgm:t>
    </dgm:pt>
    <dgm:pt modelId="{0C82CC6D-A7F1-4E26-83C9-50012131B6B4}" type="parTrans" cxnId="{23E9547C-19F3-4093-BE3F-B08248B33989}">
      <dgm:prSet/>
      <dgm:spPr/>
      <dgm:t>
        <a:bodyPr/>
        <a:lstStyle/>
        <a:p>
          <a:endParaRPr lang="ru-RU"/>
        </a:p>
      </dgm:t>
    </dgm:pt>
    <dgm:pt modelId="{E9C527D6-2C65-440E-BBD0-766581338367}" type="sibTrans" cxnId="{23E9547C-19F3-4093-BE3F-B08248B33989}">
      <dgm:prSet/>
      <dgm:spPr/>
      <dgm:t>
        <a:bodyPr/>
        <a:lstStyle/>
        <a:p>
          <a:endParaRPr lang="ru-RU"/>
        </a:p>
      </dgm:t>
    </dgm:pt>
    <dgm:pt modelId="{1697FF74-0517-49F0-BBB4-93BCF6CC58FF}">
      <dgm:prSet phldrT="[Текст]"/>
      <dgm:spPr/>
      <dgm:t>
        <a:bodyPr/>
        <a:lstStyle/>
        <a:p>
          <a:r>
            <a:rPr lang="ru-RU" dirty="0" smtClean="0"/>
            <a:t>Контроль исполнения договора</a:t>
          </a:r>
          <a:endParaRPr lang="ru-RU" dirty="0"/>
        </a:p>
      </dgm:t>
    </dgm:pt>
    <dgm:pt modelId="{ED9F2CAE-E760-4044-84FB-8CB00A738E1B}" type="parTrans" cxnId="{301131BF-BF97-40C3-9134-E404B6CE4FC1}">
      <dgm:prSet/>
      <dgm:spPr/>
      <dgm:t>
        <a:bodyPr/>
        <a:lstStyle/>
        <a:p>
          <a:endParaRPr lang="ru-RU"/>
        </a:p>
      </dgm:t>
    </dgm:pt>
    <dgm:pt modelId="{975A0177-9BE3-404C-99AD-2FED461C2F9C}" type="sibTrans" cxnId="{301131BF-BF97-40C3-9134-E404B6CE4FC1}">
      <dgm:prSet/>
      <dgm:spPr/>
      <dgm:t>
        <a:bodyPr/>
        <a:lstStyle/>
        <a:p>
          <a:endParaRPr lang="ru-RU"/>
        </a:p>
      </dgm:t>
    </dgm:pt>
    <dgm:pt modelId="{4F4C0FEA-FF19-451B-B164-0DAC78FF9628}">
      <dgm:prSet phldrT="[Текст]"/>
      <dgm:spPr/>
      <dgm:t>
        <a:bodyPr/>
        <a:lstStyle/>
        <a:p>
          <a:r>
            <a:rPr lang="ru-RU" dirty="0" smtClean="0"/>
            <a:t>Анализ эффективности, обратная связь процесса</a:t>
          </a:r>
          <a:endParaRPr lang="ru-RU" dirty="0"/>
        </a:p>
      </dgm:t>
    </dgm:pt>
    <dgm:pt modelId="{1FB08B3E-1481-4786-BCE3-E9C76E69DFB4}" type="parTrans" cxnId="{D157CE18-00D0-42B9-8A91-7EC22D952EE6}">
      <dgm:prSet/>
      <dgm:spPr/>
      <dgm:t>
        <a:bodyPr/>
        <a:lstStyle/>
        <a:p>
          <a:endParaRPr lang="ru-RU"/>
        </a:p>
      </dgm:t>
    </dgm:pt>
    <dgm:pt modelId="{1FD0FDB5-34FC-4EAE-8681-4267C90CC5B7}" type="sibTrans" cxnId="{D157CE18-00D0-42B9-8A91-7EC22D952EE6}">
      <dgm:prSet/>
      <dgm:spPr/>
      <dgm:t>
        <a:bodyPr/>
        <a:lstStyle/>
        <a:p>
          <a:endParaRPr lang="ru-RU"/>
        </a:p>
      </dgm:t>
    </dgm:pt>
    <dgm:pt modelId="{3DC75831-9763-484B-BD3F-EF3588F2FA17}" type="pres">
      <dgm:prSet presAssocID="{D2A70C7C-1200-4284-9574-1D840D96D8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0687E2-97E8-40CA-9701-B4CB729ECB8F}" type="pres">
      <dgm:prSet presAssocID="{63787730-6A12-4DA7-9E1D-A478104B3D05}" presName="node" presStyleLbl="node1" presStyleIdx="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A0E4ED-115C-4FA6-8011-BC2149DB5690}" type="pres">
      <dgm:prSet presAssocID="{55FA1D25-71EB-41EC-8420-936000086EEC}" presName="sibTrans" presStyleLbl="sibTrans2D1" presStyleIdx="0" presStyleCnt="11"/>
      <dgm:spPr/>
      <dgm:t>
        <a:bodyPr/>
        <a:lstStyle/>
        <a:p>
          <a:endParaRPr lang="ru-RU"/>
        </a:p>
      </dgm:t>
    </dgm:pt>
    <dgm:pt modelId="{CB3A18AC-7EC4-465F-8FD5-F3272724F49A}" type="pres">
      <dgm:prSet presAssocID="{55FA1D25-71EB-41EC-8420-936000086EEC}" presName="connectorText" presStyleLbl="sibTrans2D1" presStyleIdx="0" presStyleCnt="11"/>
      <dgm:spPr/>
      <dgm:t>
        <a:bodyPr/>
        <a:lstStyle/>
        <a:p>
          <a:endParaRPr lang="ru-RU"/>
        </a:p>
      </dgm:t>
    </dgm:pt>
    <dgm:pt modelId="{8C776AA3-B65D-4075-BC22-4D15515F50E4}" type="pres">
      <dgm:prSet presAssocID="{2FFA74A3-C6F1-4658-AA58-DAB2C407C817}" presName="node" presStyleLbl="node1" presStyleIdx="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B17F74-E50E-49E7-BE75-7CB7C90F2283}" type="pres">
      <dgm:prSet presAssocID="{DD6AF92D-F279-41F2-BEA6-67A271514ABE}" presName="sibTrans" presStyleLbl="sibTrans2D1" presStyleIdx="1" presStyleCnt="11"/>
      <dgm:spPr/>
      <dgm:t>
        <a:bodyPr/>
        <a:lstStyle/>
        <a:p>
          <a:endParaRPr lang="ru-RU"/>
        </a:p>
      </dgm:t>
    </dgm:pt>
    <dgm:pt modelId="{E7EC7913-8C43-4A55-80ED-E4C55FDD254A}" type="pres">
      <dgm:prSet presAssocID="{DD6AF92D-F279-41F2-BEA6-67A271514ABE}" presName="connectorText" presStyleLbl="sibTrans2D1" presStyleIdx="1" presStyleCnt="11"/>
      <dgm:spPr/>
      <dgm:t>
        <a:bodyPr/>
        <a:lstStyle/>
        <a:p>
          <a:endParaRPr lang="ru-RU"/>
        </a:p>
      </dgm:t>
    </dgm:pt>
    <dgm:pt modelId="{234B9E23-103E-4494-9FFA-BF4D15968A30}" type="pres">
      <dgm:prSet presAssocID="{DD45326F-4475-4128-9A9F-A5E603CFC0D8}" presName="node" presStyleLbl="node1" presStyleIdx="2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862696-A2ED-460C-885A-E92A6BCDE8C6}" type="pres">
      <dgm:prSet presAssocID="{49F793AB-A2D2-40FC-9C2E-0F1464E2EA5A}" presName="sibTrans" presStyleLbl="sibTrans2D1" presStyleIdx="2" presStyleCnt="11"/>
      <dgm:spPr/>
      <dgm:t>
        <a:bodyPr/>
        <a:lstStyle/>
        <a:p>
          <a:endParaRPr lang="ru-RU"/>
        </a:p>
      </dgm:t>
    </dgm:pt>
    <dgm:pt modelId="{C798FFF0-5071-4229-B486-BF3868C93DB9}" type="pres">
      <dgm:prSet presAssocID="{49F793AB-A2D2-40FC-9C2E-0F1464E2EA5A}" presName="connectorText" presStyleLbl="sibTrans2D1" presStyleIdx="2" presStyleCnt="11"/>
      <dgm:spPr/>
      <dgm:t>
        <a:bodyPr/>
        <a:lstStyle/>
        <a:p>
          <a:endParaRPr lang="ru-RU"/>
        </a:p>
      </dgm:t>
    </dgm:pt>
    <dgm:pt modelId="{55322AD6-E72E-4099-88CF-58923D0A440C}" type="pres">
      <dgm:prSet presAssocID="{CBA4FD5F-2296-4072-987E-BD86707C0361}" presName="node" presStyleLbl="node1" presStyleIdx="3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DDB2F6-27D7-477E-BD0E-B9EF332CB9C3}" type="pres">
      <dgm:prSet presAssocID="{5B202B59-7524-43DF-871D-1FB28A058286}" presName="sibTrans" presStyleLbl="sibTrans2D1" presStyleIdx="3" presStyleCnt="11"/>
      <dgm:spPr/>
      <dgm:t>
        <a:bodyPr/>
        <a:lstStyle/>
        <a:p>
          <a:endParaRPr lang="ru-RU"/>
        </a:p>
      </dgm:t>
    </dgm:pt>
    <dgm:pt modelId="{4A855555-1E21-4001-9B7B-E0F68C88AC43}" type="pres">
      <dgm:prSet presAssocID="{5B202B59-7524-43DF-871D-1FB28A058286}" presName="connectorText" presStyleLbl="sibTrans2D1" presStyleIdx="3" presStyleCnt="11"/>
      <dgm:spPr/>
      <dgm:t>
        <a:bodyPr/>
        <a:lstStyle/>
        <a:p>
          <a:endParaRPr lang="ru-RU"/>
        </a:p>
      </dgm:t>
    </dgm:pt>
    <dgm:pt modelId="{64B5AF91-8719-4185-AD28-371A06A549C1}" type="pres">
      <dgm:prSet presAssocID="{C9B2E4D7-9EDA-4C0C-B364-D14B9599DD3B}" presName="node" presStyleLbl="node1" presStyleIdx="4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B50776-251C-44B4-AAA3-0F22BF3F50F2}" type="pres">
      <dgm:prSet presAssocID="{6C4F588B-CAB0-496A-8E8E-104631100178}" presName="sibTrans" presStyleLbl="sibTrans2D1" presStyleIdx="4" presStyleCnt="11"/>
      <dgm:spPr/>
      <dgm:t>
        <a:bodyPr/>
        <a:lstStyle/>
        <a:p>
          <a:endParaRPr lang="ru-RU"/>
        </a:p>
      </dgm:t>
    </dgm:pt>
    <dgm:pt modelId="{336FA401-CBD3-4296-AB5A-2A6E7D5B81A7}" type="pres">
      <dgm:prSet presAssocID="{6C4F588B-CAB0-496A-8E8E-104631100178}" presName="connectorText" presStyleLbl="sibTrans2D1" presStyleIdx="4" presStyleCnt="11"/>
      <dgm:spPr/>
      <dgm:t>
        <a:bodyPr/>
        <a:lstStyle/>
        <a:p>
          <a:endParaRPr lang="ru-RU"/>
        </a:p>
      </dgm:t>
    </dgm:pt>
    <dgm:pt modelId="{54C2D2CF-3FE8-41BD-B1E4-5CEE7948B504}" type="pres">
      <dgm:prSet presAssocID="{78AC6CF0-344B-4826-BA5E-3F905E374672}" presName="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AB8BEA-0CB6-41EE-8B28-FF9D5CC082E1}" type="pres">
      <dgm:prSet presAssocID="{7697A257-2CC8-4038-889A-EC57159B8F99}" presName="sibTrans" presStyleLbl="sibTrans2D1" presStyleIdx="5" presStyleCnt="11"/>
      <dgm:spPr/>
      <dgm:t>
        <a:bodyPr/>
        <a:lstStyle/>
        <a:p>
          <a:endParaRPr lang="ru-RU"/>
        </a:p>
      </dgm:t>
    </dgm:pt>
    <dgm:pt modelId="{69B515A4-A19E-4025-AAA7-D639A8C23F47}" type="pres">
      <dgm:prSet presAssocID="{7697A257-2CC8-4038-889A-EC57159B8F99}" presName="connectorText" presStyleLbl="sibTrans2D1" presStyleIdx="5" presStyleCnt="11"/>
      <dgm:spPr/>
      <dgm:t>
        <a:bodyPr/>
        <a:lstStyle/>
        <a:p>
          <a:endParaRPr lang="ru-RU"/>
        </a:p>
      </dgm:t>
    </dgm:pt>
    <dgm:pt modelId="{84DE3A44-3755-45B9-A34F-9D2260C8B74D}" type="pres">
      <dgm:prSet presAssocID="{3C7C2EF4-E46E-4889-83DD-F138EE782346}" presName="node" presStyleLbl="node1" presStyleIdx="6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8A1093-00C5-449D-8878-00AB3C0EDF98}" type="pres">
      <dgm:prSet presAssocID="{BC050E65-E173-4CE8-8C0F-F6CAD53B2ECC}" presName="sibTrans" presStyleLbl="sibTrans2D1" presStyleIdx="6" presStyleCnt="11"/>
      <dgm:spPr/>
      <dgm:t>
        <a:bodyPr/>
        <a:lstStyle/>
        <a:p>
          <a:endParaRPr lang="ru-RU"/>
        </a:p>
      </dgm:t>
    </dgm:pt>
    <dgm:pt modelId="{2FF02FDF-2906-4FD2-B6B1-687E87D77080}" type="pres">
      <dgm:prSet presAssocID="{BC050E65-E173-4CE8-8C0F-F6CAD53B2ECC}" presName="connectorText" presStyleLbl="sibTrans2D1" presStyleIdx="6" presStyleCnt="11"/>
      <dgm:spPr/>
      <dgm:t>
        <a:bodyPr/>
        <a:lstStyle/>
        <a:p>
          <a:endParaRPr lang="ru-RU"/>
        </a:p>
      </dgm:t>
    </dgm:pt>
    <dgm:pt modelId="{12AF003C-AB23-47B5-8287-DE1ED991E766}" type="pres">
      <dgm:prSet presAssocID="{7A777EB8-2430-490B-AC5E-55A551C6F8A9}" presName="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CB1F0-6504-4184-B624-5E32FDB5B87A}" type="pres">
      <dgm:prSet presAssocID="{CF84E7E5-DDD6-46C2-938C-09A17A08C629}" presName="sibTrans" presStyleLbl="sibTrans2D1" presStyleIdx="7" presStyleCnt="11"/>
      <dgm:spPr/>
      <dgm:t>
        <a:bodyPr/>
        <a:lstStyle/>
        <a:p>
          <a:endParaRPr lang="ru-RU"/>
        </a:p>
      </dgm:t>
    </dgm:pt>
    <dgm:pt modelId="{2A680C68-DB24-4DBD-9480-344A2789D7E5}" type="pres">
      <dgm:prSet presAssocID="{CF84E7E5-DDD6-46C2-938C-09A17A08C629}" presName="connectorText" presStyleLbl="sibTrans2D1" presStyleIdx="7" presStyleCnt="11"/>
      <dgm:spPr/>
      <dgm:t>
        <a:bodyPr/>
        <a:lstStyle/>
        <a:p>
          <a:endParaRPr lang="ru-RU"/>
        </a:p>
      </dgm:t>
    </dgm:pt>
    <dgm:pt modelId="{B18298A3-8CF9-4538-A62C-DD21D1BDD788}" type="pres">
      <dgm:prSet presAssocID="{2D111196-6D81-4EA7-87B3-AEF4289A31CF}" presName="node" presStyleLbl="node1" presStyleIdx="8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38C97D-1D39-40DE-814A-B9855ACD488B}" type="pres">
      <dgm:prSet presAssocID="{C600860E-443D-4A57-95A6-40CC25BD8F53}" presName="sibTrans" presStyleLbl="sibTrans2D1" presStyleIdx="8" presStyleCnt="11"/>
      <dgm:spPr/>
      <dgm:t>
        <a:bodyPr/>
        <a:lstStyle/>
        <a:p>
          <a:endParaRPr lang="ru-RU"/>
        </a:p>
      </dgm:t>
    </dgm:pt>
    <dgm:pt modelId="{C19DEBA9-27A3-4C93-B5F3-D7CDD1FD20D8}" type="pres">
      <dgm:prSet presAssocID="{C600860E-443D-4A57-95A6-40CC25BD8F53}" presName="connectorText" presStyleLbl="sibTrans2D1" presStyleIdx="8" presStyleCnt="11"/>
      <dgm:spPr/>
      <dgm:t>
        <a:bodyPr/>
        <a:lstStyle/>
        <a:p>
          <a:endParaRPr lang="ru-RU"/>
        </a:p>
      </dgm:t>
    </dgm:pt>
    <dgm:pt modelId="{AF1982A6-2818-41EB-BD91-8B71D6831884}" type="pres">
      <dgm:prSet presAssocID="{45AA8397-0531-4A75-BE4F-20141FA88768}" presName="node" presStyleLbl="node1" presStyleIdx="9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18065-017F-4502-8FB7-660849B38EE9}" type="pres">
      <dgm:prSet presAssocID="{E9C527D6-2C65-440E-BBD0-766581338367}" presName="sibTrans" presStyleLbl="sibTrans2D1" presStyleIdx="9" presStyleCnt="11"/>
      <dgm:spPr/>
      <dgm:t>
        <a:bodyPr/>
        <a:lstStyle/>
        <a:p>
          <a:endParaRPr lang="ru-RU"/>
        </a:p>
      </dgm:t>
    </dgm:pt>
    <dgm:pt modelId="{55936D10-7FB0-470A-8666-64CB8A66D0D2}" type="pres">
      <dgm:prSet presAssocID="{E9C527D6-2C65-440E-BBD0-766581338367}" presName="connectorText" presStyleLbl="sibTrans2D1" presStyleIdx="9" presStyleCnt="11"/>
      <dgm:spPr/>
      <dgm:t>
        <a:bodyPr/>
        <a:lstStyle/>
        <a:p>
          <a:endParaRPr lang="ru-RU"/>
        </a:p>
      </dgm:t>
    </dgm:pt>
    <dgm:pt modelId="{98F8AA3A-9B1C-4E12-9520-E93AE8B2E357}" type="pres">
      <dgm:prSet presAssocID="{1697FF74-0517-49F0-BBB4-93BCF6CC58FF}" presName="node" presStyleLbl="node1" presStyleIdx="1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EF37D3-A7B5-4FAC-AAEF-1E588711416B}" type="pres">
      <dgm:prSet presAssocID="{975A0177-9BE3-404C-99AD-2FED461C2F9C}" presName="sibTrans" presStyleLbl="sibTrans2D1" presStyleIdx="10" presStyleCnt="11"/>
      <dgm:spPr/>
      <dgm:t>
        <a:bodyPr/>
        <a:lstStyle/>
        <a:p>
          <a:endParaRPr lang="ru-RU"/>
        </a:p>
      </dgm:t>
    </dgm:pt>
    <dgm:pt modelId="{6552780F-013A-4E25-AF10-E288961A914C}" type="pres">
      <dgm:prSet presAssocID="{975A0177-9BE3-404C-99AD-2FED461C2F9C}" presName="connectorText" presStyleLbl="sibTrans2D1" presStyleIdx="10" presStyleCnt="11"/>
      <dgm:spPr/>
      <dgm:t>
        <a:bodyPr/>
        <a:lstStyle/>
        <a:p>
          <a:endParaRPr lang="ru-RU"/>
        </a:p>
      </dgm:t>
    </dgm:pt>
    <dgm:pt modelId="{8BBEEEC3-C819-4773-8A9B-2613B4438E3C}" type="pres">
      <dgm:prSet presAssocID="{4F4C0FEA-FF19-451B-B164-0DAC78FF9628}" presName="node" presStyleLbl="node1" presStyleIdx="1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EE536AD-2AF0-49C5-B0F9-E2B930C0FD4B}" type="presOf" srcId="{5B202B59-7524-43DF-871D-1FB28A058286}" destId="{D6DDB2F6-27D7-477E-BD0E-B9EF332CB9C3}" srcOrd="0" destOrd="0" presId="urn:microsoft.com/office/officeart/2005/8/layout/process5"/>
    <dgm:cxn modelId="{A11B9D23-F518-425F-8224-2878E1890D8B}" type="presOf" srcId="{55FA1D25-71EB-41EC-8420-936000086EEC}" destId="{CB3A18AC-7EC4-465F-8FD5-F3272724F49A}" srcOrd="1" destOrd="0" presId="urn:microsoft.com/office/officeart/2005/8/layout/process5"/>
    <dgm:cxn modelId="{68406651-7511-4945-87DF-E21C9766B117}" type="presOf" srcId="{63787730-6A12-4DA7-9E1D-A478104B3D05}" destId="{9E0687E2-97E8-40CA-9701-B4CB729ECB8F}" srcOrd="0" destOrd="0" presId="urn:microsoft.com/office/officeart/2005/8/layout/process5"/>
    <dgm:cxn modelId="{E7580433-D23B-4857-AE74-184D9ADC7B69}" srcId="{D2A70C7C-1200-4284-9574-1D840D96D88D}" destId="{2FFA74A3-C6F1-4658-AA58-DAB2C407C817}" srcOrd="1" destOrd="0" parTransId="{303E6D67-CBA7-400A-971D-8D4BBABF11AE}" sibTransId="{DD6AF92D-F279-41F2-BEA6-67A271514ABE}"/>
    <dgm:cxn modelId="{5489309E-792B-4522-9581-C72382645FDF}" type="presOf" srcId="{49F793AB-A2D2-40FC-9C2E-0F1464E2EA5A}" destId="{C798FFF0-5071-4229-B486-BF3868C93DB9}" srcOrd="1" destOrd="0" presId="urn:microsoft.com/office/officeart/2005/8/layout/process5"/>
    <dgm:cxn modelId="{51023DE3-036C-4124-A8B6-1770FB2D341F}" type="presOf" srcId="{D2A70C7C-1200-4284-9574-1D840D96D88D}" destId="{3DC75831-9763-484B-BD3F-EF3588F2FA17}" srcOrd="0" destOrd="0" presId="urn:microsoft.com/office/officeart/2005/8/layout/process5"/>
    <dgm:cxn modelId="{4593196C-2BFB-490C-BDEF-3E26E8A6C6B9}" srcId="{D2A70C7C-1200-4284-9574-1D840D96D88D}" destId="{3C7C2EF4-E46E-4889-83DD-F138EE782346}" srcOrd="6" destOrd="0" parTransId="{9C4966FB-F13B-41B4-AE0B-828E1C6A7330}" sibTransId="{BC050E65-E173-4CE8-8C0F-F6CAD53B2ECC}"/>
    <dgm:cxn modelId="{301131BF-BF97-40C3-9134-E404B6CE4FC1}" srcId="{D2A70C7C-1200-4284-9574-1D840D96D88D}" destId="{1697FF74-0517-49F0-BBB4-93BCF6CC58FF}" srcOrd="10" destOrd="0" parTransId="{ED9F2CAE-E760-4044-84FB-8CB00A738E1B}" sibTransId="{975A0177-9BE3-404C-99AD-2FED461C2F9C}"/>
    <dgm:cxn modelId="{CD95A128-A2E1-4453-ADEF-FC0456D1D043}" srcId="{D2A70C7C-1200-4284-9574-1D840D96D88D}" destId="{7A777EB8-2430-490B-AC5E-55A551C6F8A9}" srcOrd="7" destOrd="0" parTransId="{34A8D547-ECEE-40AB-A1CA-8ADB90D1181E}" sibTransId="{CF84E7E5-DDD6-46C2-938C-09A17A08C629}"/>
    <dgm:cxn modelId="{2DABC5C2-E2CC-41B9-859B-45EBFFDB6DB0}" type="presOf" srcId="{DD6AF92D-F279-41F2-BEA6-67A271514ABE}" destId="{60B17F74-E50E-49E7-BE75-7CB7C90F2283}" srcOrd="0" destOrd="0" presId="urn:microsoft.com/office/officeart/2005/8/layout/process5"/>
    <dgm:cxn modelId="{27568FBF-010A-4902-BF58-FCE856160381}" type="presOf" srcId="{DD6AF92D-F279-41F2-BEA6-67A271514ABE}" destId="{E7EC7913-8C43-4A55-80ED-E4C55FDD254A}" srcOrd="1" destOrd="0" presId="urn:microsoft.com/office/officeart/2005/8/layout/process5"/>
    <dgm:cxn modelId="{C4973DB0-D7B9-48BB-8EFE-C650A0F02C53}" type="presOf" srcId="{7697A257-2CC8-4038-889A-EC57159B8F99}" destId="{69B515A4-A19E-4025-AAA7-D639A8C23F47}" srcOrd="1" destOrd="0" presId="urn:microsoft.com/office/officeart/2005/8/layout/process5"/>
    <dgm:cxn modelId="{4E7D1C0B-97C3-4AE4-86E8-1AC9C2666194}" type="presOf" srcId="{E9C527D6-2C65-440E-BBD0-766581338367}" destId="{55936D10-7FB0-470A-8666-64CB8A66D0D2}" srcOrd="1" destOrd="0" presId="urn:microsoft.com/office/officeart/2005/8/layout/process5"/>
    <dgm:cxn modelId="{0D09139A-244B-436A-8D96-51DAA5FF75DB}" type="presOf" srcId="{6C4F588B-CAB0-496A-8E8E-104631100178}" destId="{336FA401-CBD3-4296-AB5A-2A6E7D5B81A7}" srcOrd="1" destOrd="0" presId="urn:microsoft.com/office/officeart/2005/8/layout/process5"/>
    <dgm:cxn modelId="{E9227E36-0372-411E-B125-E4139CF4686A}" type="presOf" srcId="{2D111196-6D81-4EA7-87B3-AEF4289A31CF}" destId="{B18298A3-8CF9-4538-A62C-DD21D1BDD788}" srcOrd="0" destOrd="0" presId="urn:microsoft.com/office/officeart/2005/8/layout/process5"/>
    <dgm:cxn modelId="{E908B1EC-E3B3-425E-AC2E-06D490FFAAF1}" type="presOf" srcId="{DD45326F-4475-4128-9A9F-A5E603CFC0D8}" destId="{234B9E23-103E-4494-9FFA-BF4D15968A30}" srcOrd="0" destOrd="0" presId="urn:microsoft.com/office/officeart/2005/8/layout/process5"/>
    <dgm:cxn modelId="{6B4919DD-D39B-4B82-8CFD-2417099C5D40}" type="presOf" srcId="{6C4F588B-CAB0-496A-8E8E-104631100178}" destId="{E2B50776-251C-44B4-AAA3-0F22BF3F50F2}" srcOrd="0" destOrd="0" presId="urn:microsoft.com/office/officeart/2005/8/layout/process5"/>
    <dgm:cxn modelId="{4645E996-FEB5-4B66-8F2B-98726F9BBF78}" type="presOf" srcId="{4F4C0FEA-FF19-451B-B164-0DAC78FF9628}" destId="{8BBEEEC3-C819-4773-8A9B-2613B4438E3C}" srcOrd="0" destOrd="0" presId="urn:microsoft.com/office/officeart/2005/8/layout/process5"/>
    <dgm:cxn modelId="{7B978113-4300-479C-AF8C-AD63467A2B76}" type="presOf" srcId="{49F793AB-A2D2-40FC-9C2E-0F1464E2EA5A}" destId="{26862696-A2ED-460C-885A-E92A6BCDE8C6}" srcOrd="0" destOrd="0" presId="urn:microsoft.com/office/officeart/2005/8/layout/process5"/>
    <dgm:cxn modelId="{356AB8B9-59D6-4FB1-8416-7094C69B11C6}" srcId="{D2A70C7C-1200-4284-9574-1D840D96D88D}" destId="{2D111196-6D81-4EA7-87B3-AEF4289A31CF}" srcOrd="8" destOrd="0" parTransId="{9B932BB8-1455-467C-8B50-42BC1C7947D9}" sibTransId="{C600860E-443D-4A57-95A6-40CC25BD8F53}"/>
    <dgm:cxn modelId="{BC4B6C7B-819A-45A9-B9EC-56A80A072910}" type="presOf" srcId="{CBA4FD5F-2296-4072-987E-BD86707C0361}" destId="{55322AD6-E72E-4099-88CF-58923D0A440C}" srcOrd="0" destOrd="0" presId="urn:microsoft.com/office/officeart/2005/8/layout/process5"/>
    <dgm:cxn modelId="{84FD2CD9-7654-4989-9636-C837AE423EDA}" type="presOf" srcId="{2FFA74A3-C6F1-4658-AA58-DAB2C407C817}" destId="{8C776AA3-B65D-4075-BC22-4D15515F50E4}" srcOrd="0" destOrd="0" presId="urn:microsoft.com/office/officeart/2005/8/layout/process5"/>
    <dgm:cxn modelId="{E84F9DDE-679A-4E4A-A805-B39694A5AECC}" type="presOf" srcId="{975A0177-9BE3-404C-99AD-2FED461C2F9C}" destId="{6552780F-013A-4E25-AF10-E288961A914C}" srcOrd="1" destOrd="0" presId="urn:microsoft.com/office/officeart/2005/8/layout/process5"/>
    <dgm:cxn modelId="{6328894B-8D3E-40BC-AF4A-5D90AF0F5B9C}" srcId="{D2A70C7C-1200-4284-9574-1D840D96D88D}" destId="{78AC6CF0-344B-4826-BA5E-3F905E374672}" srcOrd="5" destOrd="0" parTransId="{B51AA9A1-9B90-4623-9860-5A50FEEE0A35}" sibTransId="{7697A257-2CC8-4038-889A-EC57159B8F99}"/>
    <dgm:cxn modelId="{A881A8D6-B84B-4B04-87B2-88AB6EA8A89A}" type="presOf" srcId="{E9C527D6-2C65-440E-BBD0-766581338367}" destId="{88818065-017F-4502-8FB7-660849B38EE9}" srcOrd="0" destOrd="0" presId="urn:microsoft.com/office/officeart/2005/8/layout/process5"/>
    <dgm:cxn modelId="{8C6A01BF-4D31-4F71-AA1F-2D97DA47B455}" type="presOf" srcId="{975A0177-9BE3-404C-99AD-2FED461C2F9C}" destId="{AAEF37D3-A7B5-4FAC-AAEF-1E588711416B}" srcOrd="0" destOrd="0" presId="urn:microsoft.com/office/officeart/2005/8/layout/process5"/>
    <dgm:cxn modelId="{66D6ADA9-3192-4C93-9090-856ED117D8FF}" srcId="{D2A70C7C-1200-4284-9574-1D840D96D88D}" destId="{DD45326F-4475-4128-9A9F-A5E603CFC0D8}" srcOrd="2" destOrd="0" parTransId="{B977B93D-1BF3-4C6A-8A43-097067CE1689}" sibTransId="{49F793AB-A2D2-40FC-9C2E-0F1464E2EA5A}"/>
    <dgm:cxn modelId="{86A7C0CB-D8C1-446A-9892-B2AD992FBF43}" type="presOf" srcId="{78AC6CF0-344B-4826-BA5E-3F905E374672}" destId="{54C2D2CF-3FE8-41BD-B1E4-5CEE7948B504}" srcOrd="0" destOrd="0" presId="urn:microsoft.com/office/officeart/2005/8/layout/process5"/>
    <dgm:cxn modelId="{DA878E84-86BE-4D69-9C1A-851B3FAD0326}" type="presOf" srcId="{7697A257-2CC8-4038-889A-EC57159B8F99}" destId="{B4AB8BEA-0CB6-41EE-8B28-FF9D5CC082E1}" srcOrd="0" destOrd="0" presId="urn:microsoft.com/office/officeart/2005/8/layout/process5"/>
    <dgm:cxn modelId="{679CA715-4932-415B-BF6E-C6CE327B5342}" type="presOf" srcId="{55FA1D25-71EB-41EC-8420-936000086EEC}" destId="{84A0E4ED-115C-4FA6-8011-BC2149DB5690}" srcOrd="0" destOrd="0" presId="urn:microsoft.com/office/officeart/2005/8/layout/process5"/>
    <dgm:cxn modelId="{5968068A-2C4C-4D5A-ABA5-99EC01C6CA58}" type="presOf" srcId="{45AA8397-0531-4A75-BE4F-20141FA88768}" destId="{AF1982A6-2818-41EB-BD91-8B71D6831884}" srcOrd="0" destOrd="0" presId="urn:microsoft.com/office/officeart/2005/8/layout/process5"/>
    <dgm:cxn modelId="{07B89E48-E0C3-40CA-9434-016133559445}" type="presOf" srcId="{1697FF74-0517-49F0-BBB4-93BCF6CC58FF}" destId="{98F8AA3A-9B1C-4E12-9520-E93AE8B2E357}" srcOrd="0" destOrd="0" presId="urn:microsoft.com/office/officeart/2005/8/layout/process5"/>
    <dgm:cxn modelId="{3577EAE4-BE7B-4B34-8E4C-5CAC60EE5B96}" srcId="{D2A70C7C-1200-4284-9574-1D840D96D88D}" destId="{C9B2E4D7-9EDA-4C0C-B364-D14B9599DD3B}" srcOrd="4" destOrd="0" parTransId="{34A616A2-B5BA-4CC3-A160-3DC0033F559D}" sibTransId="{6C4F588B-CAB0-496A-8E8E-104631100178}"/>
    <dgm:cxn modelId="{1736B967-7631-4387-8249-52F38EFA4934}" type="presOf" srcId="{CF84E7E5-DDD6-46C2-938C-09A17A08C629}" destId="{2A680C68-DB24-4DBD-9480-344A2789D7E5}" srcOrd="1" destOrd="0" presId="urn:microsoft.com/office/officeart/2005/8/layout/process5"/>
    <dgm:cxn modelId="{8D48CFE9-18A5-4804-B6C9-218C50D787A5}" type="presOf" srcId="{C600860E-443D-4A57-95A6-40CC25BD8F53}" destId="{C19DEBA9-27A3-4C93-B5F3-D7CDD1FD20D8}" srcOrd="1" destOrd="0" presId="urn:microsoft.com/office/officeart/2005/8/layout/process5"/>
    <dgm:cxn modelId="{4217F4D7-763F-4883-8E7A-997361E95C28}" srcId="{D2A70C7C-1200-4284-9574-1D840D96D88D}" destId="{CBA4FD5F-2296-4072-987E-BD86707C0361}" srcOrd="3" destOrd="0" parTransId="{825FCB06-6B4F-45C1-9212-CA0E4497884B}" sibTransId="{5B202B59-7524-43DF-871D-1FB28A058286}"/>
    <dgm:cxn modelId="{D157CE18-00D0-42B9-8A91-7EC22D952EE6}" srcId="{D2A70C7C-1200-4284-9574-1D840D96D88D}" destId="{4F4C0FEA-FF19-451B-B164-0DAC78FF9628}" srcOrd="11" destOrd="0" parTransId="{1FB08B3E-1481-4786-BCE3-E9C76E69DFB4}" sibTransId="{1FD0FDB5-34FC-4EAE-8681-4267C90CC5B7}"/>
    <dgm:cxn modelId="{2342FC36-0A19-4454-9B60-3B8DEC868953}" srcId="{D2A70C7C-1200-4284-9574-1D840D96D88D}" destId="{63787730-6A12-4DA7-9E1D-A478104B3D05}" srcOrd="0" destOrd="0" parTransId="{526744E0-CB04-4790-80FD-346468065FAB}" sibTransId="{55FA1D25-71EB-41EC-8420-936000086EEC}"/>
    <dgm:cxn modelId="{F5302C09-A130-4934-88AC-A002F602FE76}" type="presOf" srcId="{3C7C2EF4-E46E-4889-83DD-F138EE782346}" destId="{84DE3A44-3755-45B9-A34F-9D2260C8B74D}" srcOrd="0" destOrd="0" presId="urn:microsoft.com/office/officeart/2005/8/layout/process5"/>
    <dgm:cxn modelId="{364E30FE-AE55-4EF1-850B-B794390A5FB3}" type="presOf" srcId="{C600860E-443D-4A57-95A6-40CC25BD8F53}" destId="{9E38C97D-1D39-40DE-814A-B9855ACD488B}" srcOrd="0" destOrd="0" presId="urn:microsoft.com/office/officeart/2005/8/layout/process5"/>
    <dgm:cxn modelId="{44DBB55C-9F77-42D6-8BE9-CE98BCD79695}" type="presOf" srcId="{5B202B59-7524-43DF-871D-1FB28A058286}" destId="{4A855555-1E21-4001-9B7B-E0F68C88AC43}" srcOrd="1" destOrd="0" presId="urn:microsoft.com/office/officeart/2005/8/layout/process5"/>
    <dgm:cxn modelId="{E5353649-7D7C-4811-BCE5-937C4A250F34}" type="presOf" srcId="{7A777EB8-2430-490B-AC5E-55A551C6F8A9}" destId="{12AF003C-AB23-47B5-8287-DE1ED991E766}" srcOrd="0" destOrd="0" presId="urn:microsoft.com/office/officeart/2005/8/layout/process5"/>
    <dgm:cxn modelId="{E4178F66-0E5B-46E2-A3DE-8DCC2E358B46}" type="presOf" srcId="{BC050E65-E173-4CE8-8C0F-F6CAD53B2ECC}" destId="{C58A1093-00C5-449D-8878-00AB3C0EDF98}" srcOrd="0" destOrd="0" presId="urn:microsoft.com/office/officeart/2005/8/layout/process5"/>
    <dgm:cxn modelId="{63A825F9-0281-47B9-BE95-0E8962BD3A98}" type="presOf" srcId="{C9B2E4D7-9EDA-4C0C-B364-D14B9599DD3B}" destId="{64B5AF91-8719-4185-AD28-371A06A549C1}" srcOrd="0" destOrd="0" presId="urn:microsoft.com/office/officeart/2005/8/layout/process5"/>
    <dgm:cxn modelId="{AF34F1BA-2610-432B-BA12-5B12196B7A54}" type="presOf" srcId="{CF84E7E5-DDD6-46C2-938C-09A17A08C629}" destId="{D94CB1F0-6504-4184-B624-5E32FDB5B87A}" srcOrd="0" destOrd="0" presId="urn:microsoft.com/office/officeart/2005/8/layout/process5"/>
    <dgm:cxn modelId="{07DBAFC1-273E-46FF-924D-BF57DCCCA67E}" type="presOf" srcId="{BC050E65-E173-4CE8-8C0F-F6CAD53B2ECC}" destId="{2FF02FDF-2906-4FD2-B6B1-687E87D77080}" srcOrd="1" destOrd="0" presId="urn:microsoft.com/office/officeart/2005/8/layout/process5"/>
    <dgm:cxn modelId="{23E9547C-19F3-4093-BE3F-B08248B33989}" srcId="{D2A70C7C-1200-4284-9574-1D840D96D88D}" destId="{45AA8397-0531-4A75-BE4F-20141FA88768}" srcOrd="9" destOrd="0" parTransId="{0C82CC6D-A7F1-4E26-83C9-50012131B6B4}" sibTransId="{E9C527D6-2C65-440E-BBD0-766581338367}"/>
    <dgm:cxn modelId="{7CA09807-8BD5-4F9F-A8B3-FD652A83413B}" type="presParOf" srcId="{3DC75831-9763-484B-BD3F-EF3588F2FA17}" destId="{9E0687E2-97E8-40CA-9701-B4CB729ECB8F}" srcOrd="0" destOrd="0" presId="urn:microsoft.com/office/officeart/2005/8/layout/process5"/>
    <dgm:cxn modelId="{6DBCAF74-4EEE-4426-88A0-5DE90751E3E4}" type="presParOf" srcId="{3DC75831-9763-484B-BD3F-EF3588F2FA17}" destId="{84A0E4ED-115C-4FA6-8011-BC2149DB5690}" srcOrd="1" destOrd="0" presId="urn:microsoft.com/office/officeart/2005/8/layout/process5"/>
    <dgm:cxn modelId="{0386D54B-58B0-45F6-A5BC-0CE67E94024D}" type="presParOf" srcId="{84A0E4ED-115C-4FA6-8011-BC2149DB5690}" destId="{CB3A18AC-7EC4-465F-8FD5-F3272724F49A}" srcOrd="0" destOrd="0" presId="urn:microsoft.com/office/officeart/2005/8/layout/process5"/>
    <dgm:cxn modelId="{00239F5C-C43F-4015-B2E7-C8D7D9F7FF66}" type="presParOf" srcId="{3DC75831-9763-484B-BD3F-EF3588F2FA17}" destId="{8C776AA3-B65D-4075-BC22-4D15515F50E4}" srcOrd="2" destOrd="0" presId="urn:microsoft.com/office/officeart/2005/8/layout/process5"/>
    <dgm:cxn modelId="{C4608EF8-2C52-4A0B-90BC-13F48E5DDA45}" type="presParOf" srcId="{3DC75831-9763-484B-BD3F-EF3588F2FA17}" destId="{60B17F74-E50E-49E7-BE75-7CB7C90F2283}" srcOrd="3" destOrd="0" presId="urn:microsoft.com/office/officeart/2005/8/layout/process5"/>
    <dgm:cxn modelId="{72238B7A-3692-4D84-9997-B997E3E9ADED}" type="presParOf" srcId="{60B17F74-E50E-49E7-BE75-7CB7C90F2283}" destId="{E7EC7913-8C43-4A55-80ED-E4C55FDD254A}" srcOrd="0" destOrd="0" presId="urn:microsoft.com/office/officeart/2005/8/layout/process5"/>
    <dgm:cxn modelId="{04CD1D58-11AE-4696-B2E0-B94DC08543EA}" type="presParOf" srcId="{3DC75831-9763-484B-BD3F-EF3588F2FA17}" destId="{234B9E23-103E-4494-9FFA-BF4D15968A30}" srcOrd="4" destOrd="0" presId="urn:microsoft.com/office/officeart/2005/8/layout/process5"/>
    <dgm:cxn modelId="{E5CE9A2A-C721-48B7-9DF4-86C21C1580C9}" type="presParOf" srcId="{3DC75831-9763-484B-BD3F-EF3588F2FA17}" destId="{26862696-A2ED-460C-885A-E92A6BCDE8C6}" srcOrd="5" destOrd="0" presId="urn:microsoft.com/office/officeart/2005/8/layout/process5"/>
    <dgm:cxn modelId="{06DDDF20-ED48-4408-9B5A-3C6F953CCC35}" type="presParOf" srcId="{26862696-A2ED-460C-885A-E92A6BCDE8C6}" destId="{C798FFF0-5071-4229-B486-BF3868C93DB9}" srcOrd="0" destOrd="0" presId="urn:microsoft.com/office/officeart/2005/8/layout/process5"/>
    <dgm:cxn modelId="{044B0FA6-1F0A-42A0-9622-9E8075B8BF12}" type="presParOf" srcId="{3DC75831-9763-484B-BD3F-EF3588F2FA17}" destId="{55322AD6-E72E-4099-88CF-58923D0A440C}" srcOrd="6" destOrd="0" presId="urn:microsoft.com/office/officeart/2005/8/layout/process5"/>
    <dgm:cxn modelId="{AF484975-AE36-4141-A7D7-6694340EB24A}" type="presParOf" srcId="{3DC75831-9763-484B-BD3F-EF3588F2FA17}" destId="{D6DDB2F6-27D7-477E-BD0E-B9EF332CB9C3}" srcOrd="7" destOrd="0" presId="urn:microsoft.com/office/officeart/2005/8/layout/process5"/>
    <dgm:cxn modelId="{0263C4B2-8EFC-4897-A82A-F966A6EC681B}" type="presParOf" srcId="{D6DDB2F6-27D7-477E-BD0E-B9EF332CB9C3}" destId="{4A855555-1E21-4001-9B7B-E0F68C88AC43}" srcOrd="0" destOrd="0" presId="urn:microsoft.com/office/officeart/2005/8/layout/process5"/>
    <dgm:cxn modelId="{4E504F76-4ACD-49A9-BBEA-6D0F03D2BC17}" type="presParOf" srcId="{3DC75831-9763-484B-BD3F-EF3588F2FA17}" destId="{64B5AF91-8719-4185-AD28-371A06A549C1}" srcOrd="8" destOrd="0" presId="urn:microsoft.com/office/officeart/2005/8/layout/process5"/>
    <dgm:cxn modelId="{A38296C9-CE5A-4111-9892-7AABF70C9C60}" type="presParOf" srcId="{3DC75831-9763-484B-BD3F-EF3588F2FA17}" destId="{E2B50776-251C-44B4-AAA3-0F22BF3F50F2}" srcOrd="9" destOrd="0" presId="urn:microsoft.com/office/officeart/2005/8/layout/process5"/>
    <dgm:cxn modelId="{E24B4959-D06B-42C6-83B3-A179466306CF}" type="presParOf" srcId="{E2B50776-251C-44B4-AAA3-0F22BF3F50F2}" destId="{336FA401-CBD3-4296-AB5A-2A6E7D5B81A7}" srcOrd="0" destOrd="0" presId="urn:microsoft.com/office/officeart/2005/8/layout/process5"/>
    <dgm:cxn modelId="{6EED3299-F71A-4DC4-99DC-802DD3BD1003}" type="presParOf" srcId="{3DC75831-9763-484B-BD3F-EF3588F2FA17}" destId="{54C2D2CF-3FE8-41BD-B1E4-5CEE7948B504}" srcOrd="10" destOrd="0" presId="urn:microsoft.com/office/officeart/2005/8/layout/process5"/>
    <dgm:cxn modelId="{D1FEDCDC-8160-4882-A151-A207EA2BF110}" type="presParOf" srcId="{3DC75831-9763-484B-BD3F-EF3588F2FA17}" destId="{B4AB8BEA-0CB6-41EE-8B28-FF9D5CC082E1}" srcOrd="11" destOrd="0" presId="urn:microsoft.com/office/officeart/2005/8/layout/process5"/>
    <dgm:cxn modelId="{88AF41DB-4B3B-4BD6-BFFC-D66C82C1B1E5}" type="presParOf" srcId="{B4AB8BEA-0CB6-41EE-8B28-FF9D5CC082E1}" destId="{69B515A4-A19E-4025-AAA7-D639A8C23F47}" srcOrd="0" destOrd="0" presId="urn:microsoft.com/office/officeart/2005/8/layout/process5"/>
    <dgm:cxn modelId="{56A75572-5794-44F6-84A0-BA34DD7D5A15}" type="presParOf" srcId="{3DC75831-9763-484B-BD3F-EF3588F2FA17}" destId="{84DE3A44-3755-45B9-A34F-9D2260C8B74D}" srcOrd="12" destOrd="0" presId="urn:microsoft.com/office/officeart/2005/8/layout/process5"/>
    <dgm:cxn modelId="{A60DF738-F2F3-4F36-A16B-B8DBD9A87E5C}" type="presParOf" srcId="{3DC75831-9763-484B-BD3F-EF3588F2FA17}" destId="{C58A1093-00C5-449D-8878-00AB3C0EDF98}" srcOrd="13" destOrd="0" presId="urn:microsoft.com/office/officeart/2005/8/layout/process5"/>
    <dgm:cxn modelId="{4547C54A-F92C-4DC1-8ACB-004E8104C5D2}" type="presParOf" srcId="{C58A1093-00C5-449D-8878-00AB3C0EDF98}" destId="{2FF02FDF-2906-4FD2-B6B1-687E87D77080}" srcOrd="0" destOrd="0" presId="urn:microsoft.com/office/officeart/2005/8/layout/process5"/>
    <dgm:cxn modelId="{632869AC-E241-41E3-880A-54F50FCEEB04}" type="presParOf" srcId="{3DC75831-9763-484B-BD3F-EF3588F2FA17}" destId="{12AF003C-AB23-47B5-8287-DE1ED991E766}" srcOrd="14" destOrd="0" presId="urn:microsoft.com/office/officeart/2005/8/layout/process5"/>
    <dgm:cxn modelId="{981821A9-086B-4A8F-807B-765DAE7381F2}" type="presParOf" srcId="{3DC75831-9763-484B-BD3F-EF3588F2FA17}" destId="{D94CB1F0-6504-4184-B624-5E32FDB5B87A}" srcOrd="15" destOrd="0" presId="urn:microsoft.com/office/officeart/2005/8/layout/process5"/>
    <dgm:cxn modelId="{58C17BF6-5A43-4979-8063-102CA8A4E2DB}" type="presParOf" srcId="{D94CB1F0-6504-4184-B624-5E32FDB5B87A}" destId="{2A680C68-DB24-4DBD-9480-344A2789D7E5}" srcOrd="0" destOrd="0" presId="urn:microsoft.com/office/officeart/2005/8/layout/process5"/>
    <dgm:cxn modelId="{D9A1CE21-F7DA-477E-8794-605985B254CC}" type="presParOf" srcId="{3DC75831-9763-484B-BD3F-EF3588F2FA17}" destId="{B18298A3-8CF9-4538-A62C-DD21D1BDD788}" srcOrd="16" destOrd="0" presId="urn:microsoft.com/office/officeart/2005/8/layout/process5"/>
    <dgm:cxn modelId="{41C75826-E4E3-4F5C-81BB-74BCFA1089BA}" type="presParOf" srcId="{3DC75831-9763-484B-BD3F-EF3588F2FA17}" destId="{9E38C97D-1D39-40DE-814A-B9855ACD488B}" srcOrd="17" destOrd="0" presId="urn:microsoft.com/office/officeart/2005/8/layout/process5"/>
    <dgm:cxn modelId="{5FC25421-7393-455E-8AFD-DB3F6E0AD4BB}" type="presParOf" srcId="{9E38C97D-1D39-40DE-814A-B9855ACD488B}" destId="{C19DEBA9-27A3-4C93-B5F3-D7CDD1FD20D8}" srcOrd="0" destOrd="0" presId="urn:microsoft.com/office/officeart/2005/8/layout/process5"/>
    <dgm:cxn modelId="{9351E78D-FC24-4248-9685-CB10ACBB8652}" type="presParOf" srcId="{3DC75831-9763-484B-BD3F-EF3588F2FA17}" destId="{AF1982A6-2818-41EB-BD91-8B71D6831884}" srcOrd="18" destOrd="0" presId="urn:microsoft.com/office/officeart/2005/8/layout/process5"/>
    <dgm:cxn modelId="{BA4120ED-3DEF-4CBF-9D73-560AEEE2D28A}" type="presParOf" srcId="{3DC75831-9763-484B-BD3F-EF3588F2FA17}" destId="{88818065-017F-4502-8FB7-660849B38EE9}" srcOrd="19" destOrd="0" presId="urn:microsoft.com/office/officeart/2005/8/layout/process5"/>
    <dgm:cxn modelId="{E0A5CD4A-33BD-4C7D-B9E6-38446F7CC29F}" type="presParOf" srcId="{88818065-017F-4502-8FB7-660849B38EE9}" destId="{55936D10-7FB0-470A-8666-64CB8A66D0D2}" srcOrd="0" destOrd="0" presId="urn:microsoft.com/office/officeart/2005/8/layout/process5"/>
    <dgm:cxn modelId="{8759EA3B-B9A6-4779-A874-97F48C7FBFD1}" type="presParOf" srcId="{3DC75831-9763-484B-BD3F-EF3588F2FA17}" destId="{98F8AA3A-9B1C-4E12-9520-E93AE8B2E357}" srcOrd="20" destOrd="0" presId="urn:microsoft.com/office/officeart/2005/8/layout/process5"/>
    <dgm:cxn modelId="{B584CAA1-61A0-42EF-AAB6-0BF51D4B6A60}" type="presParOf" srcId="{3DC75831-9763-484B-BD3F-EF3588F2FA17}" destId="{AAEF37D3-A7B5-4FAC-AAEF-1E588711416B}" srcOrd="21" destOrd="0" presId="urn:microsoft.com/office/officeart/2005/8/layout/process5"/>
    <dgm:cxn modelId="{13F7F119-7044-49D1-A2CC-5BFAC615FB57}" type="presParOf" srcId="{AAEF37D3-A7B5-4FAC-AAEF-1E588711416B}" destId="{6552780F-013A-4E25-AF10-E288961A914C}" srcOrd="0" destOrd="0" presId="urn:microsoft.com/office/officeart/2005/8/layout/process5"/>
    <dgm:cxn modelId="{030F07BD-3C19-4F89-AF95-34DA1F8F443D}" type="presParOf" srcId="{3DC75831-9763-484B-BD3F-EF3588F2FA17}" destId="{8BBEEEC3-C819-4773-8A9B-2613B4438E3C}" srcOrd="2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2A70C7C-1200-4284-9574-1D840D96D88D}" type="doc">
      <dgm:prSet loTypeId="urn:microsoft.com/office/officeart/2005/8/layout/process5" loCatId="process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63787730-6A12-4DA7-9E1D-A478104B3D05}">
      <dgm:prSet phldrT="[Текст]"/>
      <dgm:spPr/>
      <dgm:t>
        <a:bodyPr/>
        <a:lstStyle/>
        <a:p>
          <a:r>
            <a:rPr lang="ru-RU" dirty="0" smtClean="0"/>
            <a:t>Планирование закупок</a:t>
          </a:r>
          <a:endParaRPr lang="ru-RU" dirty="0"/>
        </a:p>
      </dgm:t>
    </dgm:pt>
    <dgm:pt modelId="{526744E0-CB04-4790-80FD-346468065FAB}" type="parTrans" cxnId="{2342FC36-0A19-4454-9B60-3B8DEC868953}">
      <dgm:prSet/>
      <dgm:spPr/>
      <dgm:t>
        <a:bodyPr/>
        <a:lstStyle/>
        <a:p>
          <a:endParaRPr lang="ru-RU"/>
        </a:p>
      </dgm:t>
    </dgm:pt>
    <dgm:pt modelId="{55FA1D25-71EB-41EC-8420-936000086EEC}" type="sibTrans" cxnId="{2342FC36-0A19-4454-9B60-3B8DEC868953}">
      <dgm:prSet/>
      <dgm:spPr/>
      <dgm:t>
        <a:bodyPr/>
        <a:lstStyle/>
        <a:p>
          <a:endParaRPr lang="ru-RU"/>
        </a:p>
      </dgm:t>
    </dgm:pt>
    <dgm:pt modelId="{2FFA74A3-C6F1-4658-AA58-DAB2C407C817}">
      <dgm:prSet phldrT="[Текст]"/>
      <dgm:spPr/>
      <dgm:t>
        <a:bodyPr/>
        <a:lstStyle/>
        <a:p>
          <a:r>
            <a:rPr lang="ru-RU" dirty="0" smtClean="0"/>
            <a:t>Формирование закупочной документации</a:t>
          </a:r>
          <a:endParaRPr lang="ru-RU" dirty="0"/>
        </a:p>
      </dgm:t>
    </dgm:pt>
    <dgm:pt modelId="{303E6D67-CBA7-400A-971D-8D4BBABF11AE}" type="parTrans" cxnId="{E7580433-D23B-4857-AE74-184D9ADC7B69}">
      <dgm:prSet/>
      <dgm:spPr/>
      <dgm:t>
        <a:bodyPr/>
        <a:lstStyle/>
        <a:p>
          <a:endParaRPr lang="ru-RU"/>
        </a:p>
      </dgm:t>
    </dgm:pt>
    <dgm:pt modelId="{DD6AF92D-F279-41F2-BEA6-67A271514ABE}" type="sibTrans" cxnId="{E7580433-D23B-4857-AE74-184D9ADC7B69}">
      <dgm:prSet/>
      <dgm:spPr/>
      <dgm:t>
        <a:bodyPr/>
        <a:lstStyle/>
        <a:p>
          <a:endParaRPr lang="ru-RU"/>
        </a:p>
      </dgm:t>
    </dgm:pt>
    <dgm:pt modelId="{DD45326F-4475-4128-9A9F-A5E603CFC0D8}">
      <dgm:prSet phldrT="[Текст]"/>
      <dgm:spPr/>
      <dgm:t>
        <a:bodyPr/>
        <a:lstStyle/>
        <a:p>
          <a:r>
            <a:rPr lang="ru-RU" dirty="0" smtClean="0"/>
            <a:t>Внутреннее согласование закупочной документации</a:t>
          </a:r>
          <a:endParaRPr lang="ru-RU" dirty="0"/>
        </a:p>
      </dgm:t>
    </dgm:pt>
    <dgm:pt modelId="{B977B93D-1BF3-4C6A-8A43-097067CE1689}" type="parTrans" cxnId="{66D6ADA9-3192-4C93-9090-856ED117D8FF}">
      <dgm:prSet/>
      <dgm:spPr/>
      <dgm:t>
        <a:bodyPr/>
        <a:lstStyle/>
        <a:p>
          <a:endParaRPr lang="ru-RU"/>
        </a:p>
      </dgm:t>
    </dgm:pt>
    <dgm:pt modelId="{49F793AB-A2D2-40FC-9C2E-0F1464E2EA5A}" type="sibTrans" cxnId="{66D6ADA9-3192-4C93-9090-856ED117D8FF}">
      <dgm:prSet/>
      <dgm:spPr/>
      <dgm:t>
        <a:bodyPr/>
        <a:lstStyle/>
        <a:p>
          <a:endParaRPr lang="ru-RU"/>
        </a:p>
      </dgm:t>
    </dgm:pt>
    <dgm:pt modelId="{CBA4FD5F-2296-4072-987E-BD86707C0361}">
      <dgm:prSet phldrT="[Текст]"/>
      <dgm:spPr/>
      <dgm:t>
        <a:bodyPr/>
        <a:lstStyle/>
        <a:p>
          <a:r>
            <a:rPr lang="ru-RU" dirty="0" smtClean="0"/>
            <a:t>Объявление торговой процедуры</a:t>
          </a:r>
          <a:endParaRPr lang="ru-RU" dirty="0"/>
        </a:p>
      </dgm:t>
    </dgm:pt>
    <dgm:pt modelId="{825FCB06-6B4F-45C1-9212-CA0E4497884B}" type="parTrans" cxnId="{4217F4D7-763F-4883-8E7A-997361E95C28}">
      <dgm:prSet/>
      <dgm:spPr/>
      <dgm:t>
        <a:bodyPr/>
        <a:lstStyle/>
        <a:p>
          <a:endParaRPr lang="ru-RU"/>
        </a:p>
      </dgm:t>
    </dgm:pt>
    <dgm:pt modelId="{5B202B59-7524-43DF-871D-1FB28A058286}" type="sibTrans" cxnId="{4217F4D7-763F-4883-8E7A-997361E95C28}">
      <dgm:prSet/>
      <dgm:spPr/>
      <dgm:t>
        <a:bodyPr/>
        <a:lstStyle/>
        <a:p>
          <a:endParaRPr lang="ru-RU"/>
        </a:p>
      </dgm:t>
    </dgm:pt>
    <dgm:pt modelId="{C9B2E4D7-9EDA-4C0C-B364-D14B9599DD3B}">
      <dgm:prSet phldrT="[Текст]"/>
      <dgm:spPr/>
      <dgm:t>
        <a:bodyPr/>
        <a:lstStyle/>
        <a:p>
          <a:r>
            <a:rPr lang="ru-RU" dirty="0" smtClean="0"/>
            <a:t>Рассмотрение предложений</a:t>
          </a:r>
          <a:endParaRPr lang="ru-RU" dirty="0"/>
        </a:p>
      </dgm:t>
    </dgm:pt>
    <dgm:pt modelId="{34A616A2-B5BA-4CC3-A160-3DC0033F559D}" type="parTrans" cxnId="{3577EAE4-BE7B-4B34-8E4C-5CAC60EE5B96}">
      <dgm:prSet/>
      <dgm:spPr/>
      <dgm:t>
        <a:bodyPr/>
        <a:lstStyle/>
        <a:p>
          <a:endParaRPr lang="ru-RU"/>
        </a:p>
      </dgm:t>
    </dgm:pt>
    <dgm:pt modelId="{6C4F588B-CAB0-496A-8E8E-104631100178}" type="sibTrans" cxnId="{3577EAE4-BE7B-4B34-8E4C-5CAC60EE5B96}">
      <dgm:prSet/>
      <dgm:spPr/>
      <dgm:t>
        <a:bodyPr/>
        <a:lstStyle/>
        <a:p>
          <a:endParaRPr lang="ru-RU"/>
        </a:p>
      </dgm:t>
    </dgm:pt>
    <dgm:pt modelId="{78AC6CF0-344B-4826-BA5E-3F905E374672}">
      <dgm:prSet phldrT="[Текст]"/>
      <dgm:spPr/>
      <dgm:t>
        <a:bodyPr/>
        <a:lstStyle/>
        <a:p>
          <a:r>
            <a:rPr lang="ru-RU" dirty="0" smtClean="0"/>
            <a:t>Подведение итогов</a:t>
          </a:r>
          <a:endParaRPr lang="ru-RU" dirty="0"/>
        </a:p>
      </dgm:t>
    </dgm:pt>
    <dgm:pt modelId="{B51AA9A1-9B90-4623-9860-5A50FEEE0A35}" type="parTrans" cxnId="{6328894B-8D3E-40BC-AF4A-5D90AF0F5B9C}">
      <dgm:prSet/>
      <dgm:spPr/>
      <dgm:t>
        <a:bodyPr/>
        <a:lstStyle/>
        <a:p>
          <a:endParaRPr lang="ru-RU"/>
        </a:p>
      </dgm:t>
    </dgm:pt>
    <dgm:pt modelId="{7697A257-2CC8-4038-889A-EC57159B8F99}" type="sibTrans" cxnId="{6328894B-8D3E-40BC-AF4A-5D90AF0F5B9C}">
      <dgm:prSet/>
      <dgm:spPr/>
      <dgm:t>
        <a:bodyPr/>
        <a:lstStyle/>
        <a:p>
          <a:endParaRPr lang="ru-RU"/>
        </a:p>
      </dgm:t>
    </dgm:pt>
    <dgm:pt modelId="{3C7C2EF4-E46E-4889-83DD-F138EE782346}">
      <dgm:prSet phldrT="[Текст]"/>
      <dgm:spPr/>
      <dgm:t>
        <a:bodyPr/>
        <a:lstStyle/>
        <a:p>
          <a:r>
            <a:rPr lang="ru-RU" dirty="0" smtClean="0"/>
            <a:t>Формирование договора</a:t>
          </a:r>
          <a:endParaRPr lang="ru-RU" dirty="0"/>
        </a:p>
      </dgm:t>
    </dgm:pt>
    <dgm:pt modelId="{9C4966FB-F13B-41B4-AE0B-828E1C6A7330}" type="parTrans" cxnId="{4593196C-2BFB-490C-BDEF-3E26E8A6C6B9}">
      <dgm:prSet/>
      <dgm:spPr/>
      <dgm:t>
        <a:bodyPr/>
        <a:lstStyle/>
        <a:p>
          <a:endParaRPr lang="ru-RU"/>
        </a:p>
      </dgm:t>
    </dgm:pt>
    <dgm:pt modelId="{BC050E65-E173-4CE8-8C0F-F6CAD53B2ECC}" type="sibTrans" cxnId="{4593196C-2BFB-490C-BDEF-3E26E8A6C6B9}">
      <dgm:prSet/>
      <dgm:spPr/>
      <dgm:t>
        <a:bodyPr/>
        <a:lstStyle/>
        <a:p>
          <a:endParaRPr lang="ru-RU"/>
        </a:p>
      </dgm:t>
    </dgm:pt>
    <dgm:pt modelId="{7A777EB8-2430-490B-AC5E-55A551C6F8A9}">
      <dgm:prSet phldrT="[Текст]"/>
      <dgm:spPr/>
      <dgm:t>
        <a:bodyPr/>
        <a:lstStyle/>
        <a:p>
          <a:r>
            <a:rPr lang="ru-RU" dirty="0" smtClean="0"/>
            <a:t>Внутреннее согласование договора</a:t>
          </a:r>
          <a:endParaRPr lang="ru-RU" dirty="0"/>
        </a:p>
      </dgm:t>
    </dgm:pt>
    <dgm:pt modelId="{34A8D547-ECEE-40AB-A1CA-8ADB90D1181E}" type="parTrans" cxnId="{CD95A128-A2E1-4453-ADEF-FC0456D1D043}">
      <dgm:prSet/>
      <dgm:spPr/>
      <dgm:t>
        <a:bodyPr/>
        <a:lstStyle/>
        <a:p>
          <a:endParaRPr lang="ru-RU"/>
        </a:p>
      </dgm:t>
    </dgm:pt>
    <dgm:pt modelId="{CF84E7E5-DDD6-46C2-938C-09A17A08C629}" type="sibTrans" cxnId="{CD95A128-A2E1-4453-ADEF-FC0456D1D043}">
      <dgm:prSet/>
      <dgm:spPr/>
      <dgm:t>
        <a:bodyPr/>
        <a:lstStyle/>
        <a:p>
          <a:endParaRPr lang="ru-RU"/>
        </a:p>
      </dgm:t>
    </dgm:pt>
    <dgm:pt modelId="{2D111196-6D81-4EA7-87B3-AEF4289A31CF}">
      <dgm:prSet phldrT="[Текст]"/>
      <dgm:spPr/>
      <dgm:t>
        <a:bodyPr/>
        <a:lstStyle/>
        <a:p>
          <a:r>
            <a:rPr lang="ru-RU" dirty="0" smtClean="0"/>
            <a:t>Согласование договора с поставщиками и подписание</a:t>
          </a:r>
          <a:endParaRPr lang="ru-RU" dirty="0"/>
        </a:p>
      </dgm:t>
    </dgm:pt>
    <dgm:pt modelId="{9B932BB8-1455-467C-8B50-42BC1C7947D9}" type="parTrans" cxnId="{356AB8B9-59D6-4FB1-8416-7094C69B11C6}">
      <dgm:prSet/>
      <dgm:spPr/>
      <dgm:t>
        <a:bodyPr/>
        <a:lstStyle/>
        <a:p>
          <a:endParaRPr lang="ru-RU"/>
        </a:p>
      </dgm:t>
    </dgm:pt>
    <dgm:pt modelId="{C600860E-443D-4A57-95A6-40CC25BD8F53}" type="sibTrans" cxnId="{356AB8B9-59D6-4FB1-8416-7094C69B11C6}">
      <dgm:prSet/>
      <dgm:spPr/>
      <dgm:t>
        <a:bodyPr/>
        <a:lstStyle/>
        <a:p>
          <a:endParaRPr lang="ru-RU"/>
        </a:p>
      </dgm:t>
    </dgm:pt>
    <dgm:pt modelId="{45AA8397-0531-4A75-BE4F-20141FA88768}">
      <dgm:prSet phldrT="[Текст]"/>
      <dgm:spPr/>
      <dgm:t>
        <a:bodyPr/>
        <a:lstStyle/>
        <a:p>
          <a:r>
            <a:rPr lang="ru-RU" dirty="0" smtClean="0"/>
            <a:t>Обмен финансовыми документами</a:t>
          </a:r>
          <a:endParaRPr lang="ru-RU" dirty="0"/>
        </a:p>
      </dgm:t>
    </dgm:pt>
    <dgm:pt modelId="{0C82CC6D-A7F1-4E26-83C9-50012131B6B4}" type="parTrans" cxnId="{23E9547C-19F3-4093-BE3F-B08248B33989}">
      <dgm:prSet/>
      <dgm:spPr/>
      <dgm:t>
        <a:bodyPr/>
        <a:lstStyle/>
        <a:p>
          <a:endParaRPr lang="ru-RU"/>
        </a:p>
      </dgm:t>
    </dgm:pt>
    <dgm:pt modelId="{E9C527D6-2C65-440E-BBD0-766581338367}" type="sibTrans" cxnId="{23E9547C-19F3-4093-BE3F-B08248B33989}">
      <dgm:prSet/>
      <dgm:spPr/>
      <dgm:t>
        <a:bodyPr/>
        <a:lstStyle/>
        <a:p>
          <a:endParaRPr lang="ru-RU"/>
        </a:p>
      </dgm:t>
    </dgm:pt>
    <dgm:pt modelId="{1697FF74-0517-49F0-BBB4-93BCF6CC58FF}">
      <dgm:prSet phldrT="[Текст]"/>
      <dgm:spPr/>
      <dgm:t>
        <a:bodyPr/>
        <a:lstStyle/>
        <a:p>
          <a:r>
            <a:rPr lang="ru-RU" dirty="0" smtClean="0"/>
            <a:t>Контроль исполнения договора</a:t>
          </a:r>
          <a:endParaRPr lang="ru-RU" dirty="0"/>
        </a:p>
      </dgm:t>
    </dgm:pt>
    <dgm:pt modelId="{ED9F2CAE-E760-4044-84FB-8CB00A738E1B}" type="parTrans" cxnId="{301131BF-BF97-40C3-9134-E404B6CE4FC1}">
      <dgm:prSet/>
      <dgm:spPr/>
      <dgm:t>
        <a:bodyPr/>
        <a:lstStyle/>
        <a:p>
          <a:endParaRPr lang="ru-RU"/>
        </a:p>
      </dgm:t>
    </dgm:pt>
    <dgm:pt modelId="{975A0177-9BE3-404C-99AD-2FED461C2F9C}" type="sibTrans" cxnId="{301131BF-BF97-40C3-9134-E404B6CE4FC1}">
      <dgm:prSet/>
      <dgm:spPr/>
      <dgm:t>
        <a:bodyPr/>
        <a:lstStyle/>
        <a:p>
          <a:endParaRPr lang="ru-RU"/>
        </a:p>
      </dgm:t>
    </dgm:pt>
    <dgm:pt modelId="{4F4C0FEA-FF19-451B-B164-0DAC78FF9628}">
      <dgm:prSet phldrT="[Текст]"/>
      <dgm:spPr/>
      <dgm:t>
        <a:bodyPr/>
        <a:lstStyle/>
        <a:p>
          <a:r>
            <a:rPr lang="ru-RU" dirty="0" smtClean="0"/>
            <a:t>Анализ эффективности, обратная связь процесса</a:t>
          </a:r>
          <a:endParaRPr lang="ru-RU" dirty="0"/>
        </a:p>
      </dgm:t>
    </dgm:pt>
    <dgm:pt modelId="{1FB08B3E-1481-4786-BCE3-E9C76E69DFB4}" type="parTrans" cxnId="{D157CE18-00D0-42B9-8A91-7EC22D952EE6}">
      <dgm:prSet/>
      <dgm:spPr/>
      <dgm:t>
        <a:bodyPr/>
        <a:lstStyle/>
        <a:p>
          <a:endParaRPr lang="ru-RU"/>
        </a:p>
      </dgm:t>
    </dgm:pt>
    <dgm:pt modelId="{1FD0FDB5-34FC-4EAE-8681-4267C90CC5B7}" type="sibTrans" cxnId="{D157CE18-00D0-42B9-8A91-7EC22D952EE6}">
      <dgm:prSet/>
      <dgm:spPr/>
      <dgm:t>
        <a:bodyPr/>
        <a:lstStyle/>
        <a:p>
          <a:endParaRPr lang="ru-RU"/>
        </a:p>
      </dgm:t>
    </dgm:pt>
    <dgm:pt modelId="{3DC75831-9763-484B-BD3F-EF3588F2FA17}" type="pres">
      <dgm:prSet presAssocID="{D2A70C7C-1200-4284-9574-1D840D96D8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0687E2-97E8-40CA-9701-B4CB729ECB8F}" type="pres">
      <dgm:prSet presAssocID="{63787730-6A12-4DA7-9E1D-A478104B3D05}" presName="node" presStyleLbl="node1" presStyleIdx="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A0E4ED-115C-4FA6-8011-BC2149DB5690}" type="pres">
      <dgm:prSet presAssocID="{55FA1D25-71EB-41EC-8420-936000086EEC}" presName="sibTrans" presStyleLbl="sibTrans2D1" presStyleIdx="0" presStyleCnt="11"/>
      <dgm:spPr/>
      <dgm:t>
        <a:bodyPr/>
        <a:lstStyle/>
        <a:p>
          <a:endParaRPr lang="ru-RU"/>
        </a:p>
      </dgm:t>
    </dgm:pt>
    <dgm:pt modelId="{CB3A18AC-7EC4-465F-8FD5-F3272724F49A}" type="pres">
      <dgm:prSet presAssocID="{55FA1D25-71EB-41EC-8420-936000086EEC}" presName="connectorText" presStyleLbl="sibTrans2D1" presStyleIdx="0" presStyleCnt="11"/>
      <dgm:spPr/>
      <dgm:t>
        <a:bodyPr/>
        <a:lstStyle/>
        <a:p>
          <a:endParaRPr lang="ru-RU"/>
        </a:p>
      </dgm:t>
    </dgm:pt>
    <dgm:pt modelId="{8C776AA3-B65D-4075-BC22-4D15515F50E4}" type="pres">
      <dgm:prSet presAssocID="{2FFA74A3-C6F1-4658-AA58-DAB2C407C817}" presName="node" presStyleLbl="node1" presStyleIdx="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B17F74-E50E-49E7-BE75-7CB7C90F2283}" type="pres">
      <dgm:prSet presAssocID="{DD6AF92D-F279-41F2-BEA6-67A271514ABE}" presName="sibTrans" presStyleLbl="sibTrans2D1" presStyleIdx="1" presStyleCnt="11"/>
      <dgm:spPr/>
      <dgm:t>
        <a:bodyPr/>
        <a:lstStyle/>
        <a:p>
          <a:endParaRPr lang="ru-RU"/>
        </a:p>
      </dgm:t>
    </dgm:pt>
    <dgm:pt modelId="{E7EC7913-8C43-4A55-80ED-E4C55FDD254A}" type="pres">
      <dgm:prSet presAssocID="{DD6AF92D-F279-41F2-BEA6-67A271514ABE}" presName="connectorText" presStyleLbl="sibTrans2D1" presStyleIdx="1" presStyleCnt="11"/>
      <dgm:spPr/>
      <dgm:t>
        <a:bodyPr/>
        <a:lstStyle/>
        <a:p>
          <a:endParaRPr lang="ru-RU"/>
        </a:p>
      </dgm:t>
    </dgm:pt>
    <dgm:pt modelId="{234B9E23-103E-4494-9FFA-BF4D15968A30}" type="pres">
      <dgm:prSet presAssocID="{DD45326F-4475-4128-9A9F-A5E603CFC0D8}" presName="node" presStyleLbl="node1" presStyleIdx="2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862696-A2ED-460C-885A-E92A6BCDE8C6}" type="pres">
      <dgm:prSet presAssocID="{49F793AB-A2D2-40FC-9C2E-0F1464E2EA5A}" presName="sibTrans" presStyleLbl="sibTrans2D1" presStyleIdx="2" presStyleCnt="11"/>
      <dgm:spPr/>
      <dgm:t>
        <a:bodyPr/>
        <a:lstStyle/>
        <a:p>
          <a:endParaRPr lang="ru-RU"/>
        </a:p>
      </dgm:t>
    </dgm:pt>
    <dgm:pt modelId="{C798FFF0-5071-4229-B486-BF3868C93DB9}" type="pres">
      <dgm:prSet presAssocID="{49F793AB-A2D2-40FC-9C2E-0F1464E2EA5A}" presName="connectorText" presStyleLbl="sibTrans2D1" presStyleIdx="2" presStyleCnt="11"/>
      <dgm:spPr/>
      <dgm:t>
        <a:bodyPr/>
        <a:lstStyle/>
        <a:p>
          <a:endParaRPr lang="ru-RU"/>
        </a:p>
      </dgm:t>
    </dgm:pt>
    <dgm:pt modelId="{55322AD6-E72E-4099-88CF-58923D0A440C}" type="pres">
      <dgm:prSet presAssocID="{CBA4FD5F-2296-4072-987E-BD86707C0361}" presName="node" presStyleLbl="node1" presStyleIdx="3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DDB2F6-27D7-477E-BD0E-B9EF332CB9C3}" type="pres">
      <dgm:prSet presAssocID="{5B202B59-7524-43DF-871D-1FB28A058286}" presName="sibTrans" presStyleLbl="sibTrans2D1" presStyleIdx="3" presStyleCnt="11"/>
      <dgm:spPr/>
      <dgm:t>
        <a:bodyPr/>
        <a:lstStyle/>
        <a:p>
          <a:endParaRPr lang="ru-RU"/>
        </a:p>
      </dgm:t>
    </dgm:pt>
    <dgm:pt modelId="{4A855555-1E21-4001-9B7B-E0F68C88AC43}" type="pres">
      <dgm:prSet presAssocID="{5B202B59-7524-43DF-871D-1FB28A058286}" presName="connectorText" presStyleLbl="sibTrans2D1" presStyleIdx="3" presStyleCnt="11"/>
      <dgm:spPr/>
      <dgm:t>
        <a:bodyPr/>
        <a:lstStyle/>
        <a:p>
          <a:endParaRPr lang="ru-RU"/>
        </a:p>
      </dgm:t>
    </dgm:pt>
    <dgm:pt modelId="{64B5AF91-8719-4185-AD28-371A06A549C1}" type="pres">
      <dgm:prSet presAssocID="{C9B2E4D7-9EDA-4C0C-B364-D14B9599DD3B}" presName="node" presStyleLbl="node1" presStyleIdx="4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B50776-251C-44B4-AAA3-0F22BF3F50F2}" type="pres">
      <dgm:prSet presAssocID="{6C4F588B-CAB0-496A-8E8E-104631100178}" presName="sibTrans" presStyleLbl="sibTrans2D1" presStyleIdx="4" presStyleCnt="11"/>
      <dgm:spPr/>
      <dgm:t>
        <a:bodyPr/>
        <a:lstStyle/>
        <a:p>
          <a:endParaRPr lang="ru-RU"/>
        </a:p>
      </dgm:t>
    </dgm:pt>
    <dgm:pt modelId="{336FA401-CBD3-4296-AB5A-2A6E7D5B81A7}" type="pres">
      <dgm:prSet presAssocID="{6C4F588B-CAB0-496A-8E8E-104631100178}" presName="connectorText" presStyleLbl="sibTrans2D1" presStyleIdx="4" presStyleCnt="11"/>
      <dgm:spPr/>
      <dgm:t>
        <a:bodyPr/>
        <a:lstStyle/>
        <a:p>
          <a:endParaRPr lang="ru-RU"/>
        </a:p>
      </dgm:t>
    </dgm:pt>
    <dgm:pt modelId="{54C2D2CF-3FE8-41BD-B1E4-5CEE7948B504}" type="pres">
      <dgm:prSet presAssocID="{78AC6CF0-344B-4826-BA5E-3F905E374672}" presName="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AB8BEA-0CB6-41EE-8B28-FF9D5CC082E1}" type="pres">
      <dgm:prSet presAssocID="{7697A257-2CC8-4038-889A-EC57159B8F99}" presName="sibTrans" presStyleLbl="sibTrans2D1" presStyleIdx="5" presStyleCnt="11"/>
      <dgm:spPr/>
      <dgm:t>
        <a:bodyPr/>
        <a:lstStyle/>
        <a:p>
          <a:endParaRPr lang="ru-RU"/>
        </a:p>
      </dgm:t>
    </dgm:pt>
    <dgm:pt modelId="{69B515A4-A19E-4025-AAA7-D639A8C23F47}" type="pres">
      <dgm:prSet presAssocID="{7697A257-2CC8-4038-889A-EC57159B8F99}" presName="connectorText" presStyleLbl="sibTrans2D1" presStyleIdx="5" presStyleCnt="11"/>
      <dgm:spPr/>
      <dgm:t>
        <a:bodyPr/>
        <a:lstStyle/>
        <a:p>
          <a:endParaRPr lang="ru-RU"/>
        </a:p>
      </dgm:t>
    </dgm:pt>
    <dgm:pt modelId="{84DE3A44-3755-45B9-A34F-9D2260C8B74D}" type="pres">
      <dgm:prSet presAssocID="{3C7C2EF4-E46E-4889-83DD-F138EE782346}" presName="node" presStyleLbl="node1" presStyleIdx="6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8A1093-00C5-449D-8878-00AB3C0EDF98}" type="pres">
      <dgm:prSet presAssocID="{BC050E65-E173-4CE8-8C0F-F6CAD53B2ECC}" presName="sibTrans" presStyleLbl="sibTrans2D1" presStyleIdx="6" presStyleCnt="11"/>
      <dgm:spPr/>
      <dgm:t>
        <a:bodyPr/>
        <a:lstStyle/>
        <a:p>
          <a:endParaRPr lang="ru-RU"/>
        </a:p>
      </dgm:t>
    </dgm:pt>
    <dgm:pt modelId="{2FF02FDF-2906-4FD2-B6B1-687E87D77080}" type="pres">
      <dgm:prSet presAssocID="{BC050E65-E173-4CE8-8C0F-F6CAD53B2ECC}" presName="connectorText" presStyleLbl="sibTrans2D1" presStyleIdx="6" presStyleCnt="11"/>
      <dgm:spPr/>
      <dgm:t>
        <a:bodyPr/>
        <a:lstStyle/>
        <a:p>
          <a:endParaRPr lang="ru-RU"/>
        </a:p>
      </dgm:t>
    </dgm:pt>
    <dgm:pt modelId="{12AF003C-AB23-47B5-8287-DE1ED991E766}" type="pres">
      <dgm:prSet presAssocID="{7A777EB8-2430-490B-AC5E-55A551C6F8A9}" presName="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CB1F0-6504-4184-B624-5E32FDB5B87A}" type="pres">
      <dgm:prSet presAssocID="{CF84E7E5-DDD6-46C2-938C-09A17A08C629}" presName="sibTrans" presStyleLbl="sibTrans2D1" presStyleIdx="7" presStyleCnt="11"/>
      <dgm:spPr/>
      <dgm:t>
        <a:bodyPr/>
        <a:lstStyle/>
        <a:p>
          <a:endParaRPr lang="ru-RU"/>
        </a:p>
      </dgm:t>
    </dgm:pt>
    <dgm:pt modelId="{2A680C68-DB24-4DBD-9480-344A2789D7E5}" type="pres">
      <dgm:prSet presAssocID="{CF84E7E5-DDD6-46C2-938C-09A17A08C629}" presName="connectorText" presStyleLbl="sibTrans2D1" presStyleIdx="7" presStyleCnt="11"/>
      <dgm:spPr/>
      <dgm:t>
        <a:bodyPr/>
        <a:lstStyle/>
        <a:p>
          <a:endParaRPr lang="ru-RU"/>
        </a:p>
      </dgm:t>
    </dgm:pt>
    <dgm:pt modelId="{B18298A3-8CF9-4538-A62C-DD21D1BDD788}" type="pres">
      <dgm:prSet presAssocID="{2D111196-6D81-4EA7-87B3-AEF4289A31CF}" presName="node" presStyleLbl="node1" presStyleIdx="8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38C97D-1D39-40DE-814A-B9855ACD488B}" type="pres">
      <dgm:prSet presAssocID="{C600860E-443D-4A57-95A6-40CC25BD8F53}" presName="sibTrans" presStyleLbl="sibTrans2D1" presStyleIdx="8" presStyleCnt="11"/>
      <dgm:spPr/>
      <dgm:t>
        <a:bodyPr/>
        <a:lstStyle/>
        <a:p>
          <a:endParaRPr lang="ru-RU"/>
        </a:p>
      </dgm:t>
    </dgm:pt>
    <dgm:pt modelId="{C19DEBA9-27A3-4C93-B5F3-D7CDD1FD20D8}" type="pres">
      <dgm:prSet presAssocID="{C600860E-443D-4A57-95A6-40CC25BD8F53}" presName="connectorText" presStyleLbl="sibTrans2D1" presStyleIdx="8" presStyleCnt="11"/>
      <dgm:spPr/>
      <dgm:t>
        <a:bodyPr/>
        <a:lstStyle/>
        <a:p>
          <a:endParaRPr lang="ru-RU"/>
        </a:p>
      </dgm:t>
    </dgm:pt>
    <dgm:pt modelId="{AF1982A6-2818-41EB-BD91-8B71D6831884}" type="pres">
      <dgm:prSet presAssocID="{45AA8397-0531-4A75-BE4F-20141FA88768}" presName="node" presStyleLbl="node1" presStyleIdx="9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18065-017F-4502-8FB7-660849B38EE9}" type="pres">
      <dgm:prSet presAssocID="{E9C527D6-2C65-440E-BBD0-766581338367}" presName="sibTrans" presStyleLbl="sibTrans2D1" presStyleIdx="9" presStyleCnt="11"/>
      <dgm:spPr/>
      <dgm:t>
        <a:bodyPr/>
        <a:lstStyle/>
        <a:p>
          <a:endParaRPr lang="ru-RU"/>
        </a:p>
      </dgm:t>
    </dgm:pt>
    <dgm:pt modelId="{55936D10-7FB0-470A-8666-64CB8A66D0D2}" type="pres">
      <dgm:prSet presAssocID="{E9C527D6-2C65-440E-BBD0-766581338367}" presName="connectorText" presStyleLbl="sibTrans2D1" presStyleIdx="9" presStyleCnt="11"/>
      <dgm:spPr/>
      <dgm:t>
        <a:bodyPr/>
        <a:lstStyle/>
        <a:p>
          <a:endParaRPr lang="ru-RU"/>
        </a:p>
      </dgm:t>
    </dgm:pt>
    <dgm:pt modelId="{98F8AA3A-9B1C-4E12-9520-E93AE8B2E357}" type="pres">
      <dgm:prSet presAssocID="{1697FF74-0517-49F0-BBB4-93BCF6CC58FF}" presName="node" presStyleLbl="node1" presStyleIdx="1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EF37D3-A7B5-4FAC-AAEF-1E588711416B}" type="pres">
      <dgm:prSet presAssocID="{975A0177-9BE3-404C-99AD-2FED461C2F9C}" presName="sibTrans" presStyleLbl="sibTrans2D1" presStyleIdx="10" presStyleCnt="11"/>
      <dgm:spPr/>
      <dgm:t>
        <a:bodyPr/>
        <a:lstStyle/>
        <a:p>
          <a:endParaRPr lang="ru-RU"/>
        </a:p>
      </dgm:t>
    </dgm:pt>
    <dgm:pt modelId="{6552780F-013A-4E25-AF10-E288961A914C}" type="pres">
      <dgm:prSet presAssocID="{975A0177-9BE3-404C-99AD-2FED461C2F9C}" presName="connectorText" presStyleLbl="sibTrans2D1" presStyleIdx="10" presStyleCnt="11"/>
      <dgm:spPr/>
      <dgm:t>
        <a:bodyPr/>
        <a:lstStyle/>
        <a:p>
          <a:endParaRPr lang="ru-RU"/>
        </a:p>
      </dgm:t>
    </dgm:pt>
    <dgm:pt modelId="{8BBEEEC3-C819-4773-8A9B-2613B4438E3C}" type="pres">
      <dgm:prSet presAssocID="{4F4C0FEA-FF19-451B-B164-0DAC78FF9628}" presName="node" presStyleLbl="node1" presStyleIdx="1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4402AE6-F153-412C-8096-5F0843CC1A44}" type="presOf" srcId="{CBA4FD5F-2296-4072-987E-BD86707C0361}" destId="{55322AD6-E72E-4099-88CF-58923D0A440C}" srcOrd="0" destOrd="0" presId="urn:microsoft.com/office/officeart/2005/8/layout/process5"/>
    <dgm:cxn modelId="{519BC49B-80F0-485D-87AA-9496E0E5A77C}" type="presOf" srcId="{55FA1D25-71EB-41EC-8420-936000086EEC}" destId="{CB3A18AC-7EC4-465F-8FD5-F3272724F49A}" srcOrd="1" destOrd="0" presId="urn:microsoft.com/office/officeart/2005/8/layout/process5"/>
    <dgm:cxn modelId="{301131BF-BF97-40C3-9134-E404B6CE4FC1}" srcId="{D2A70C7C-1200-4284-9574-1D840D96D88D}" destId="{1697FF74-0517-49F0-BBB4-93BCF6CC58FF}" srcOrd="10" destOrd="0" parTransId="{ED9F2CAE-E760-4044-84FB-8CB00A738E1B}" sibTransId="{975A0177-9BE3-404C-99AD-2FED461C2F9C}"/>
    <dgm:cxn modelId="{84FE6408-1D5A-4309-889B-7FF508E6DAFF}" type="presOf" srcId="{1697FF74-0517-49F0-BBB4-93BCF6CC58FF}" destId="{98F8AA3A-9B1C-4E12-9520-E93AE8B2E357}" srcOrd="0" destOrd="0" presId="urn:microsoft.com/office/officeart/2005/8/layout/process5"/>
    <dgm:cxn modelId="{4217F4D7-763F-4883-8E7A-997361E95C28}" srcId="{D2A70C7C-1200-4284-9574-1D840D96D88D}" destId="{CBA4FD5F-2296-4072-987E-BD86707C0361}" srcOrd="3" destOrd="0" parTransId="{825FCB06-6B4F-45C1-9212-CA0E4497884B}" sibTransId="{5B202B59-7524-43DF-871D-1FB28A058286}"/>
    <dgm:cxn modelId="{6D2049E0-1A81-4BCC-AAE3-DE3C80B14B40}" type="presOf" srcId="{45AA8397-0531-4A75-BE4F-20141FA88768}" destId="{AF1982A6-2818-41EB-BD91-8B71D6831884}" srcOrd="0" destOrd="0" presId="urn:microsoft.com/office/officeart/2005/8/layout/process5"/>
    <dgm:cxn modelId="{C212D067-51E8-4629-A07F-FD329020C3A9}" type="presOf" srcId="{E9C527D6-2C65-440E-BBD0-766581338367}" destId="{88818065-017F-4502-8FB7-660849B38EE9}" srcOrd="0" destOrd="0" presId="urn:microsoft.com/office/officeart/2005/8/layout/process5"/>
    <dgm:cxn modelId="{C2EB3A9A-0896-4CAD-AFF7-241B7C311656}" type="presOf" srcId="{4F4C0FEA-FF19-451B-B164-0DAC78FF9628}" destId="{8BBEEEC3-C819-4773-8A9B-2613B4438E3C}" srcOrd="0" destOrd="0" presId="urn:microsoft.com/office/officeart/2005/8/layout/process5"/>
    <dgm:cxn modelId="{97A0828C-CDF5-4198-A992-BE1FDDA62DEA}" type="presOf" srcId="{975A0177-9BE3-404C-99AD-2FED461C2F9C}" destId="{AAEF37D3-A7B5-4FAC-AAEF-1E588711416B}" srcOrd="0" destOrd="0" presId="urn:microsoft.com/office/officeart/2005/8/layout/process5"/>
    <dgm:cxn modelId="{AA3ED53E-BC33-4539-9247-20F724D6FBB2}" type="presOf" srcId="{49F793AB-A2D2-40FC-9C2E-0F1464E2EA5A}" destId="{C798FFF0-5071-4229-B486-BF3868C93DB9}" srcOrd="1" destOrd="0" presId="urn:microsoft.com/office/officeart/2005/8/layout/process5"/>
    <dgm:cxn modelId="{B2A02D42-41FD-4046-BBC3-BE168FA0C0A1}" type="presOf" srcId="{55FA1D25-71EB-41EC-8420-936000086EEC}" destId="{84A0E4ED-115C-4FA6-8011-BC2149DB5690}" srcOrd="0" destOrd="0" presId="urn:microsoft.com/office/officeart/2005/8/layout/process5"/>
    <dgm:cxn modelId="{356AB8B9-59D6-4FB1-8416-7094C69B11C6}" srcId="{D2A70C7C-1200-4284-9574-1D840D96D88D}" destId="{2D111196-6D81-4EA7-87B3-AEF4289A31CF}" srcOrd="8" destOrd="0" parTransId="{9B932BB8-1455-467C-8B50-42BC1C7947D9}" sibTransId="{C600860E-443D-4A57-95A6-40CC25BD8F53}"/>
    <dgm:cxn modelId="{504CD419-591E-466B-A110-31193D36730E}" type="presOf" srcId="{6C4F588B-CAB0-496A-8E8E-104631100178}" destId="{336FA401-CBD3-4296-AB5A-2A6E7D5B81A7}" srcOrd="1" destOrd="0" presId="urn:microsoft.com/office/officeart/2005/8/layout/process5"/>
    <dgm:cxn modelId="{CD95A128-A2E1-4453-ADEF-FC0456D1D043}" srcId="{D2A70C7C-1200-4284-9574-1D840D96D88D}" destId="{7A777EB8-2430-490B-AC5E-55A551C6F8A9}" srcOrd="7" destOrd="0" parTransId="{34A8D547-ECEE-40AB-A1CA-8ADB90D1181E}" sibTransId="{CF84E7E5-DDD6-46C2-938C-09A17A08C629}"/>
    <dgm:cxn modelId="{CCC9EAC9-E1E0-43A0-A01C-C901353459AC}" type="presOf" srcId="{C9B2E4D7-9EDA-4C0C-B364-D14B9599DD3B}" destId="{64B5AF91-8719-4185-AD28-371A06A549C1}" srcOrd="0" destOrd="0" presId="urn:microsoft.com/office/officeart/2005/8/layout/process5"/>
    <dgm:cxn modelId="{D157CE18-00D0-42B9-8A91-7EC22D952EE6}" srcId="{D2A70C7C-1200-4284-9574-1D840D96D88D}" destId="{4F4C0FEA-FF19-451B-B164-0DAC78FF9628}" srcOrd="11" destOrd="0" parTransId="{1FB08B3E-1481-4786-BCE3-E9C76E69DFB4}" sibTransId="{1FD0FDB5-34FC-4EAE-8681-4267C90CC5B7}"/>
    <dgm:cxn modelId="{8A141C67-294E-45AE-A9F3-005B955452F6}" type="presOf" srcId="{78AC6CF0-344B-4826-BA5E-3F905E374672}" destId="{54C2D2CF-3FE8-41BD-B1E4-5CEE7948B504}" srcOrd="0" destOrd="0" presId="urn:microsoft.com/office/officeart/2005/8/layout/process5"/>
    <dgm:cxn modelId="{66D6ADA9-3192-4C93-9090-856ED117D8FF}" srcId="{D2A70C7C-1200-4284-9574-1D840D96D88D}" destId="{DD45326F-4475-4128-9A9F-A5E603CFC0D8}" srcOrd="2" destOrd="0" parTransId="{B977B93D-1BF3-4C6A-8A43-097067CE1689}" sibTransId="{49F793AB-A2D2-40FC-9C2E-0F1464E2EA5A}"/>
    <dgm:cxn modelId="{C05D8577-02CF-42A5-82CC-640FB0FEC0C3}" type="presOf" srcId="{CF84E7E5-DDD6-46C2-938C-09A17A08C629}" destId="{D94CB1F0-6504-4184-B624-5E32FDB5B87A}" srcOrd="0" destOrd="0" presId="urn:microsoft.com/office/officeart/2005/8/layout/process5"/>
    <dgm:cxn modelId="{BEEA5875-53FE-4407-B584-7777AAD36456}" type="presOf" srcId="{BC050E65-E173-4CE8-8C0F-F6CAD53B2ECC}" destId="{C58A1093-00C5-449D-8878-00AB3C0EDF98}" srcOrd="0" destOrd="0" presId="urn:microsoft.com/office/officeart/2005/8/layout/process5"/>
    <dgm:cxn modelId="{482EA699-2296-461D-AD2F-B5DB4CF125F3}" type="presOf" srcId="{2FFA74A3-C6F1-4658-AA58-DAB2C407C817}" destId="{8C776AA3-B65D-4075-BC22-4D15515F50E4}" srcOrd="0" destOrd="0" presId="urn:microsoft.com/office/officeart/2005/8/layout/process5"/>
    <dgm:cxn modelId="{A1534D54-6AAC-4928-84B6-8AAC111AED32}" type="presOf" srcId="{D2A70C7C-1200-4284-9574-1D840D96D88D}" destId="{3DC75831-9763-484B-BD3F-EF3588F2FA17}" srcOrd="0" destOrd="0" presId="urn:microsoft.com/office/officeart/2005/8/layout/process5"/>
    <dgm:cxn modelId="{A032E542-47B9-4CCA-89DF-3BCAD3F7BD54}" type="presOf" srcId="{63787730-6A12-4DA7-9E1D-A478104B3D05}" destId="{9E0687E2-97E8-40CA-9701-B4CB729ECB8F}" srcOrd="0" destOrd="0" presId="urn:microsoft.com/office/officeart/2005/8/layout/process5"/>
    <dgm:cxn modelId="{B3F228B5-6090-411B-ACA7-922ECC6AF5AA}" type="presOf" srcId="{C600860E-443D-4A57-95A6-40CC25BD8F53}" destId="{9E38C97D-1D39-40DE-814A-B9855ACD488B}" srcOrd="0" destOrd="0" presId="urn:microsoft.com/office/officeart/2005/8/layout/process5"/>
    <dgm:cxn modelId="{3577EAE4-BE7B-4B34-8E4C-5CAC60EE5B96}" srcId="{D2A70C7C-1200-4284-9574-1D840D96D88D}" destId="{C9B2E4D7-9EDA-4C0C-B364-D14B9599DD3B}" srcOrd="4" destOrd="0" parTransId="{34A616A2-B5BA-4CC3-A160-3DC0033F559D}" sibTransId="{6C4F588B-CAB0-496A-8E8E-104631100178}"/>
    <dgm:cxn modelId="{6328894B-8D3E-40BC-AF4A-5D90AF0F5B9C}" srcId="{D2A70C7C-1200-4284-9574-1D840D96D88D}" destId="{78AC6CF0-344B-4826-BA5E-3F905E374672}" srcOrd="5" destOrd="0" parTransId="{B51AA9A1-9B90-4623-9860-5A50FEEE0A35}" sibTransId="{7697A257-2CC8-4038-889A-EC57159B8F99}"/>
    <dgm:cxn modelId="{4593196C-2BFB-490C-BDEF-3E26E8A6C6B9}" srcId="{D2A70C7C-1200-4284-9574-1D840D96D88D}" destId="{3C7C2EF4-E46E-4889-83DD-F138EE782346}" srcOrd="6" destOrd="0" parTransId="{9C4966FB-F13B-41B4-AE0B-828E1C6A7330}" sibTransId="{BC050E65-E173-4CE8-8C0F-F6CAD53B2ECC}"/>
    <dgm:cxn modelId="{F8005EBE-0C00-4C2A-AA90-289499AEABE3}" type="presOf" srcId="{2D111196-6D81-4EA7-87B3-AEF4289A31CF}" destId="{B18298A3-8CF9-4538-A62C-DD21D1BDD788}" srcOrd="0" destOrd="0" presId="urn:microsoft.com/office/officeart/2005/8/layout/process5"/>
    <dgm:cxn modelId="{0B7FB593-7F38-48FC-A365-E4EC5A9339A2}" type="presOf" srcId="{DD45326F-4475-4128-9A9F-A5E603CFC0D8}" destId="{234B9E23-103E-4494-9FFA-BF4D15968A30}" srcOrd="0" destOrd="0" presId="urn:microsoft.com/office/officeart/2005/8/layout/process5"/>
    <dgm:cxn modelId="{F2ADB78E-E5C0-4FAC-A64A-D08C0CCF85EC}" type="presOf" srcId="{BC050E65-E173-4CE8-8C0F-F6CAD53B2ECC}" destId="{2FF02FDF-2906-4FD2-B6B1-687E87D77080}" srcOrd="1" destOrd="0" presId="urn:microsoft.com/office/officeart/2005/8/layout/process5"/>
    <dgm:cxn modelId="{23E9547C-19F3-4093-BE3F-B08248B33989}" srcId="{D2A70C7C-1200-4284-9574-1D840D96D88D}" destId="{45AA8397-0531-4A75-BE4F-20141FA88768}" srcOrd="9" destOrd="0" parTransId="{0C82CC6D-A7F1-4E26-83C9-50012131B6B4}" sibTransId="{E9C527D6-2C65-440E-BBD0-766581338367}"/>
    <dgm:cxn modelId="{E8C7D934-DD10-4496-BAF9-97DA01B7E903}" type="presOf" srcId="{6C4F588B-CAB0-496A-8E8E-104631100178}" destId="{E2B50776-251C-44B4-AAA3-0F22BF3F50F2}" srcOrd="0" destOrd="0" presId="urn:microsoft.com/office/officeart/2005/8/layout/process5"/>
    <dgm:cxn modelId="{43BB338F-3E9C-4A89-ADCE-A21BD04D9100}" type="presOf" srcId="{CF84E7E5-DDD6-46C2-938C-09A17A08C629}" destId="{2A680C68-DB24-4DBD-9480-344A2789D7E5}" srcOrd="1" destOrd="0" presId="urn:microsoft.com/office/officeart/2005/8/layout/process5"/>
    <dgm:cxn modelId="{B0E5989C-FD9A-43A1-87A8-FF8AAC6D6ABA}" type="presOf" srcId="{975A0177-9BE3-404C-99AD-2FED461C2F9C}" destId="{6552780F-013A-4E25-AF10-E288961A914C}" srcOrd="1" destOrd="0" presId="urn:microsoft.com/office/officeart/2005/8/layout/process5"/>
    <dgm:cxn modelId="{3FD87AD9-FC83-4B10-A9A5-C25D7B988F86}" type="presOf" srcId="{7697A257-2CC8-4038-889A-EC57159B8F99}" destId="{B4AB8BEA-0CB6-41EE-8B28-FF9D5CC082E1}" srcOrd="0" destOrd="0" presId="urn:microsoft.com/office/officeart/2005/8/layout/process5"/>
    <dgm:cxn modelId="{AED3CA2D-D38A-4B20-9328-8FD1BB0CA3A6}" type="presOf" srcId="{5B202B59-7524-43DF-871D-1FB28A058286}" destId="{D6DDB2F6-27D7-477E-BD0E-B9EF332CB9C3}" srcOrd="0" destOrd="0" presId="urn:microsoft.com/office/officeart/2005/8/layout/process5"/>
    <dgm:cxn modelId="{E7580433-D23B-4857-AE74-184D9ADC7B69}" srcId="{D2A70C7C-1200-4284-9574-1D840D96D88D}" destId="{2FFA74A3-C6F1-4658-AA58-DAB2C407C817}" srcOrd="1" destOrd="0" parTransId="{303E6D67-CBA7-400A-971D-8D4BBABF11AE}" sibTransId="{DD6AF92D-F279-41F2-BEA6-67A271514ABE}"/>
    <dgm:cxn modelId="{D52D6839-20F3-4522-8BD4-53F7B0E9CFBC}" type="presOf" srcId="{5B202B59-7524-43DF-871D-1FB28A058286}" destId="{4A855555-1E21-4001-9B7B-E0F68C88AC43}" srcOrd="1" destOrd="0" presId="urn:microsoft.com/office/officeart/2005/8/layout/process5"/>
    <dgm:cxn modelId="{70837BC3-BA1A-458D-A0C0-DA5D09758458}" type="presOf" srcId="{7A777EB8-2430-490B-AC5E-55A551C6F8A9}" destId="{12AF003C-AB23-47B5-8287-DE1ED991E766}" srcOrd="0" destOrd="0" presId="urn:microsoft.com/office/officeart/2005/8/layout/process5"/>
    <dgm:cxn modelId="{BF89CC48-81C8-4DD0-BFC4-76A76AE8DA3C}" type="presOf" srcId="{DD6AF92D-F279-41F2-BEA6-67A271514ABE}" destId="{E7EC7913-8C43-4A55-80ED-E4C55FDD254A}" srcOrd="1" destOrd="0" presId="urn:microsoft.com/office/officeart/2005/8/layout/process5"/>
    <dgm:cxn modelId="{6D5EFC9C-9213-4D60-9792-A5CE6A4442C8}" type="presOf" srcId="{7697A257-2CC8-4038-889A-EC57159B8F99}" destId="{69B515A4-A19E-4025-AAA7-D639A8C23F47}" srcOrd="1" destOrd="0" presId="urn:microsoft.com/office/officeart/2005/8/layout/process5"/>
    <dgm:cxn modelId="{2342FC36-0A19-4454-9B60-3B8DEC868953}" srcId="{D2A70C7C-1200-4284-9574-1D840D96D88D}" destId="{63787730-6A12-4DA7-9E1D-A478104B3D05}" srcOrd="0" destOrd="0" parTransId="{526744E0-CB04-4790-80FD-346468065FAB}" sibTransId="{55FA1D25-71EB-41EC-8420-936000086EEC}"/>
    <dgm:cxn modelId="{F35830FD-9181-4369-AB9B-1C06581FB654}" type="presOf" srcId="{E9C527D6-2C65-440E-BBD0-766581338367}" destId="{55936D10-7FB0-470A-8666-64CB8A66D0D2}" srcOrd="1" destOrd="0" presId="urn:microsoft.com/office/officeart/2005/8/layout/process5"/>
    <dgm:cxn modelId="{9DF1058A-3B99-4262-9A27-6EFA0A6B85B9}" type="presOf" srcId="{DD6AF92D-F279-41F2-BEA6-67A271514ABE}" destId="{60B17F74-E50E-49E7-BE75-7CB7C90F2283}" srcOrd="0" destOrd="0" presId="urn:microsoft.com/office/officeart/2005/8/layout/process5"/>
    <dgm:cxn modelId="{229C007E-F244-49D0-9E62-2DD8F02ABF1D}" type="presOf" srcId="{49F793AB-A2D2-40FC-9C2E-0F1464E2EA5A}" destId="{26862696-A2ED-460C-885A-E92A6BCDE8C6}" srcOrd="0" destOrd="0" presId="urn:microsoft.com/office/officeart/2005/8/layout/process5"/>
    <dgm:cxn modelId="{83178B93-D6C3-4233-AA0A-ACBDADA53860}" type="presOf" srcId="{3C7C2EF4-E46E-4889-83DD-F138EE782346}" destId="{84DE3A44-3755-45B9-A34F-9D2260C8B74D}" srcOrd="0" destOrd="0" presId="urn:microsoft.com/office/officeart/2005/8/layout/process5"/>
    <dgm:cxn modelId="{2210F935-8A57-4187-A868-ED475A2925CB}" type="presOf" srcId="{C600860E-443D-4A57-95A6-40CC25BD8F53}" destId="{C19DEBA9-27A3-4C93-B5F3-D7CDD1FD20D8}" srcOrd="1" destOrd="0" presId="urn:microsoft.com/office/officeart/2005/8/layout/process5"/>
    <dgm:cxn modelId="{007F7502-81D8-4953-9D5D-036C043A9E2B}" type="presParOf" srcId="{3DC75831-9763-484B-BD3F-EF3588F2FA17}" destId="{9E0687E2-97E8-40CA-9701-B4CB729ECB8F}" srcOrd="0" destOrd="0" presId="urn:microsoft.com/office/officeart/2005/8/layout/process5"/>
    <dgm:cxn modelId="{F2107DF5-BCAA-47AA-AE02-97A9DC6B90E0}" type="presParOf" srcId="{3DC75831-9763-484B-BD3F-EF3588F2FA17}" destId="{84A0E4ED-115C-4FA6-8011-BC2149DB5690}" srcOrd="1" destOrd="0" presId="urn:microsoft.com/office/officeart/2005/8/layout/process5"/>
    <dgm:cxn modelId="{F4B9BFE1-140B-492B-B7AB-9F9BB7D4CBC4}" type="presParOf" srcId="{84A0E4ED-115C-4FA6-8011-BC2149DB5690}" destId="{CB3A18AC-7EC4-465F-8FD5-F3272724F49A}" srcOrd="0" destOrd="0" presId="urn:microsoft.com/office/officeart/2005/8/layout/process5"/>
    <dgm:cxn modelId="{44CA3D4F-F9E9-46B5-80ED-10636F2D21D2}" type="presParOf" srcId="{3DC75831-9763-484B-BD3F-EF3588F2FA17}" destId="{8C776AA3-B65D-4075-BC22-4D15515F50E4}" srcOrd="2" destOrd="0" presId="urn:microsoft.com/office/officeart/2005/8/layout/process5"/>
    <dgm:cxn modelId="{3D5A7A05-3DE8-47D2-A101-3D2A254B7079}" type="presParOf" srcId="{3DC75831-9763-484B-BD3F-EF3588F2FA17}" destId="{60B17F74-E50E-49E7-BE75-7CB7C90F2283}" srcOrd="3" destOrd="0" presId="urn:microsoft.com/office/officeart/2005/8/layout/process5"/>
    <dgm:cxn modelId="{F1700556-DAB8-4AA8-B0FB-AF849B495C36}" type="presParOf" srcId="{60B17F74-E50E-49E7-BE75-7CB7C90F2283}" destId="{E7EC7913-8C43-4A55-80ED-E4C55FDD254A}" srcOrd="0" destOrd="0" presId="urn:microsoft.com/office/officeart/2005/8/layout/process5"/>
    <dgm:cxn modelId="{F86B8104-982C-468C-ACF2-48EDC299F8A5}" type="presParOf" srcId="{3DC75831-9763-484B-BD3F-EF3588F2FA17}" destId="{234B9E23-103E-4494-9FFA-BF4D15968A30}" srcOrd="4" destOrd="0" presId="urn:microsoft.com/office/officeart/2005/8/layout/process5"/>
    <dgm:cxn modelId="{C126B6A6-4557-4710-89CE-5B357A431688}" type="presParOf" srcId="{3DC75831-9763-484B-BD3F-EF3588F2FA17}" destId="{26862696-A2ED-460C-885A-E92A6BCDE8C6}" srcOrd="5" destOrd="0" presId="urn:microsoft.com/office/officeart/2005/8/layout/process5"/>
    <dgm:cxn modelId="{5D11743B-E62D-4C23-BBAB-2B988454B4E4}" type="presParOf" srcId="{26862696-A2ED-460C-885A-E92A6BCDE8C6}" destId="{C798FFF0-5071-4229-B486-BF3868C93DB9}" srcOrd="0" destOrd="0" presId="urn:microsoft.com/office/officeart/2005/8/layout/process5"/>
    <dgm:cxn modelId="{22D35680-4E6A-4EA4-A48D-5C272642D42B}" type="presParOf" srcId="{3DC75831-9763-484B-BD3F-EF3588F2FA17}" destId="{55322AD6-E72E-4099-88CF-58923D0A440C}" srcOrd="6" destOrd="0" presId="urn:microsoft.com/office/officeart/2005/8/layout/process5"/>
    <dgm:cxn modelId="{762EBF0B-425A-486B-B99F-D6FAAD6EA769}" type="presParOf" srcId="{3DC75831-9763-484B-BD3F-EF3588F2FA17}" destId="{D6DDB2F6-27D7-477E-BD0E-B9EF332CB9C3}" srcOrd="7" destOrd="0" presId="urn:microsoft.com/office/officeart/2005/8/layout/process5"/>
    <dgm:cxn modelId="{E2370D7E-131B-4B6E-8B5C-76D8EB00D0D0}" type="presParOf" srcId="{D6DDB2F6-27D7-477E-BD0E-B9EF332CB9C3}" destId="{4A855555-1E21-4001-9B7B-E0F68C88AC43}" srcOrd="0" destOrd="0" presId="urn:microsoft.com/office/officeart/2005/8/layout/process5"/>
    <dgm:cxn modelId="{3AD2F058-9A79-479A-8324-F514F4F5B059}" type="presParOf" srcId="{3DC75831-9763-484B-BD3F-EF3588F2FA17}" destId="{64B5AF91-8719-4185-AD28-371A06A549C1}" srcOrd="8" destOrd="0" presId="urn:microsoft.com/office/officeart/2005/8/layout/process5"/>
    <dgm:cxn modelId="{49E4D612-437F-4A72-BC30-54C3D1E99289}" type="presParOf" srcId="{3DC75831-9763-484B-BD3F-EF3588F2FA17}" destId="{E2B50776-251C-44B4-AAA3-0F22BF3F50F2}" srcOrd="9" destOrd="0" presId="urn:microsoft.com/office/officeart/2005/8/layout/process5"/>
    <dgm:cxn modelId="{692A2969-AF94-487C-A02D-A1F792BF9FDA}" type="presParOf" srcId="{E2B50776-251C-44B4-AAA3-0F22BF3F50F2}" destId="{336FA401-CBD3-4296-AB5A-2A6E7D5B81A7}" srcOrd="0" destOrd="0" presId="urn:microsoft.com/office/officeart/2005/8/layout/process5"/>
    <dgm:cxn modelId="{D8E89F36-0F26-4D66-BA4D-1F04D0EC0188}" type="presParOf" srcId="{3DC75831-9763-484B-BD3F-EF3588F2FA17}" destId="{54C2D2CF-3FE8-41BD-B1E4-5CEE7948B504}" srcOrd="10" destOrd="0" presId="urn:microsoft.com/office/officeart/2005/8/layout/process5"/>
    <dgm:cxn modelId="{2BA89693-6963-4CDB-B4DA-5628B5B4BA70}" type="presParOf" srcId="{3DC75831-9763-484B-BD3F-EF3588F2FA17}" destId="{B4AB8BEA-0CB6-41EE-8B28-FF9D5CC082E1}" srcOrd="11" destOrd="0" presId="urn:microsoft.com/office/officeart/2005/8/layout/process5"/>
    <dgm:cxn modelId="{0C1FDFB8-1E07-43C1-A9FE-4E99DFB5BA6F}" type="presParOf" srcId="{B4AB8BEA-0CB6-41EE-8B28-FF9D5CC082E1}" destId="{69B515A4-A19E-4025-AAA7-D639A8C23F47}" srcOrd="0" destOrd="0" presId="urn:microsoft.com/office/officeart/2005/8/layout/process5"/>
    <dgm:cxn modelId="{2479F5D7-6C99-42FF-A1A6-7AC68C74CAB8}" type="presParOf" srcId="{3DC75831-9763-484B-BD3F-EF3588F2FA17}" destId="{84DE3A44-3755-45B9-A34F-9D2260C8B74D}" srcOrd="12" destOrd="0" presId="urn:microsoft.com/office/officeart/2005/8/layout/process5"/>
    <dgm:cxn modelId="{EE0FF4EA-F1C2-4587-BC1E-606C1975D990}" type="presParOf" srcId="{3DC75831-9763-484B-BD3F-EF3588F2FA17}" destId="{C58A1093-00C5-449D-8878-00AB3C0EDF98}" srcOrd="13" destOrd="0" presId="urn:microsoft.com/office/officeart/2005/8/layout/process5"/>
    <dgm:cxn modelId="{402FB231-3A7F-4105-8116-9AAEB43C5F06}" type="presParOf" srcId="{C58A1093-00C5-449D-8878-00AB3C0EDF98}" destId="{2FF02FDF-2906-4FD2-B6B1-687E87D77080}" srcOrd="0" destOrd="0" presId="urn:microsoft.com/office/officeart/2005/8/layout/process5"/>
    <dgm:cxn modelId="{F550469A-E872-4F36-8B2A-F30094979FC3}" type="presParOf" srcId="{3DC75831-9763-484B-BD3F-EF3588F2FA17}" destId="{12AF003C-AB23-47B5-8287-DE1ED991E766}" srcOrd="14" destOrd="0" presId="urn:microsoft.com/office/officeart/2005/8/layout/process5"/>
    <dgm:cxn modelId="{B3E2DF2A-B6B0-41AB-B8F5-3283710DAE14}" type="presParOf" srcId="{3DC75831-9763-484B-BD3F-EF3588F2FA17}" destId="{D94CB1F0-6504-4184-B624-5E32FDB5B87A}" srcOrd="15" destOrd="0" presId="urn:microsoft.com/office/officeart/2005/8/layout/process5"/>
    <dgm:cxn modelId="{4EAC7DA9-6C62-41C8-8187-46777B20D49D}" type="presParOf" srcId="{D94CB1F0-6504-4184-B624-5E32FDB5B87A}" destId="{2A680C68-DB24-4DBD-9480-344A2789D7E5}" srcOrd="0" destOrd="0" presId="urn:microsoft.com/office/officeart/2005/8/layout/process5"/>
    <dgm:cxn modelId="{73179D8D-1908-4673-A47F-78CD7FFC52AC}" type="presParOf" srcId="{3DC75831-9763-484B-BD3F-EF3588F2FA17}" destId="{B18298A3-8CF9-4538-A62C-DD21D1BDD788}" srcOrd="16" destOrd="0" presId="urn:microsoft.com/office/officeart/2005/8/layout/process5"/>
    <dgm:cxn modelId="{7DAEB38F-B3B7-47A0-9712-2B7E92C60AD1}" type="presParOf" srcId="{3DC75831-9763-484B-BD3F-EF3588F2FA17}" destId="{9E38C97D-1D39-40DE-814A-B9855ACD488B}" srcOrd="17" destOrd="0" presId="urn:microsoft.com/office/officeart/2005/8/layout/process5"/>
    <dgm:cxn modelId="{45CACA4F-3C52-49E0-9E1F-F2EAA7F9B8E2}" type="presParOf" srcId="{9E38C97D-1D39-40DE-814A-B9855ACD488B}" destId="{C19DEBA9-27A3-4C93-B5F3-D7CDD1FD20D8}" srcOrd="0" destOrd="0" presId="urn:microsoft.com/office/officeart/2005/8/layout/process5"/>
    <dgm:cxn modelId="{F6E8333E-AF33-4E5D-96F9-249EB8874D47}" type="presParOf" srcId="{3DC75831-9763-484B-BD3F-EF3588F2FA17}" destId="{AF1982A6-2818-41EB-BD91-8B71D6831884}" srcOrd="18" destOrd="0" presId="urn:microsoft.com/office/officeart/2005/8/layout/process5"/>
    <dgm:cxn modelId="{7B43009D-9951-4AD3-B7FE-4D44AEEDF0E8}" type="presParOf" srcId="{3DC75831-9763-484B-BD3F-EF3588F2FA17}" destId="{88818065-017F-4502-8FB7-660849B38EE9}" srcOrd="19" destOrd="0" presId="urn:microsoft.com/office/officeart/2005/8/layout/process5"/>
    <dgm:cxn modelId="{644289FA-70F0-4DF8-B0A5-9C07981CC047}" type="presParOf" srcId="{88818065-017F-4502-8FB7-660849B38EE9}" destId="{55936D10-7FB0-470A-8666-64CB8A66D0D2}" srcOrd="0" destOrd="0" presId="urn:microsoft.com/office/officeart/2005/8/layout/process5"/>
    <dgm:cxn modelId="{14D09180-9A47-4AE9-83EE-29B8337C8FFE}" type="presParOf" srcId="{3DC75831-9763-484B-BD3F-EF3588F2FA17}" destId="{98F8AA3A-9B1C-4E12-9520-E93AE8B2E357}" srcOrd="20" destOrd="0" presId="urn:microsoft.com/office/officeart/2005/8/layout/process5"/>
    <dgm:cxn modelId="{DACA3BCA-BBC1-4D58-9FBF-AA7D1006644D}" type="presParOf" srcId="{3DC75831-9763-484B-BD3F-EF3588F2FA17}" destId="{AAEF37D3-A7B5-4FAC-AAEF-1E588711416B}" srcOrd="21" destOrd="0" presId="urn:microsoft.com/office/officeart/2005/8/layout/process5"/>
    <dgm:cxn modelId="{1737001B-6552-4E2A-BA5D-73CCEC5F1BE1}" type="presParOf" srcId="{AAEF37D3-A7B5-4FAC-AAEF-1E588711416B}" destId="{6552780F-013A-4E25-AF10-E288961A914C}" srcOrd="0" destOrd="0" presId="urn:microsoft.com/office/officeart/2005/8/layout/process5"/>
    <dgm:cxn modelId="{A2716AB2-3572-47E6-B355-DAC62C8A4F20}" type="presParOf" srcId="{3DC75831-9763-484B-BD3F-EF3588F2FA17}" destId="{8BBEEEC3-C819-4773-8A9B-2613B4438E3C}" srcOrd="2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2A70C7C-1200-4284-9574-1D840D96D88D}" type="doc">
      <dgm:prSet loTypeId="urn:microsoft.com/office/officeart/2005/8/layout/process5" loCatId="process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63787730-6A12-4DA7-9E1D-A478104B3D05}">
      <dgm:prSet phldrT="[Текст]"/>
      <dgm:spPr/>
      <dgm:t>
        <a:bodyPr/>
        <a:lstStyle/>
        <a:p>
          <a:r>
            <a:rPr lang="ru-RU" dirty="0" smtClean="0"/>
            <a:t>1 Планирование закупок</a:t>
          </a:r>
          <a:endParaRPr lang="ru-RU" dirty="0"/>
        </a:p>
      </dgm:t>
    </dgm:pt>
    <dgm:pt modelId="{526744E0-CB04-4790-80FD-346468065FAB}" type="parTrans" cxnId="{2342FC36-0A19-4454-9B60-3B8DEC868953}">
      <dgm:prSet/>
      <dgm:spPr/>
      <dgm:t>
        <a:bodyPr/>
        <a:lstStyle/>
        <a:p>
          <a:endParaRPr lang="ru-RU"/>
        </a:p>
      </dgm:t>
    </dgm:pt>
    <dgm:pt modelId="{55FA1D25-71EB-41EC-8420-936000086EEC}" type="sibTrans" cxnId="{2342FC36-0A19-4454-9B60-3B8DEC868953}">
      <dgm:prSet/>
      <dgm:spPr/>
      <dgm:t>
        <a:bodyPr/>
        <a:lstStyle/>
        <a:p>
          <a:endParaRPr lang="ru-RU"/>
        </a:p>
      </dgm:t>
    </dgm:pt>
    <dgm:pt modelId="{2FFA74A3-C6F1-4658-AA58-DAB2C407C817}">
      <dgm:prSet phldrT="[Текст]"/>
      <dgm:spPr/>
      <dgm:t>
        <a:bodyPr lIns="0" rIns="0"/>
        <a:lstStyle/>
        <a:p>
          <a:r>
            <a:rPr lang="ru-RU" dirty="0" smtClean="0"/>
            <a:t>2 Формирование закупочной документации</a:t>
          </a:r>
          <a:endParaRPr lang="ru-RU" dirty="0"/>
        </a:p>
      </dgm:t>
    </dgm:pt>
    <dgm:pt modelId="{303E6D67-CBA7-400A-971D-8D4BBABF11AE}" type="parTrans" cxnId="{E7580433-D23B-4857-AE74-184D9ADC7B69}">
      <dgm:prSet/>
      <dgm:spPr/>
      <dgm:t>
        <a:bodyPr/>
        <a:lstStyle/>
        <a:p>
          <a:endParaRPr lang="ru-RU"/>
        </a:p>
      </dgm:t>
    </dgm:pt>
    <dgm:pt modelId="{DD6AF92D-F279-41F2-BEA6-67A271514ABE}" type="sibTrans" cxnId="{E7580433-D23B-4857-AE74-184D9ADC7B69}">
      <dgm:prSet/>
      <dgm:spPr/>
      <dgm:t>
        <a:bodyPr/>
        <a:lstStyle/>
        <a:p>
          <a:endParaRPr lang="ru-RU"/>
        </a:p>
      </dgm:t>
    </dgm:pt>
    <dgm:pt modelId="{DD45326F-4475-4128-9A9F-A5E603CFC0D8}">
      <dgm:prSet phldrT="[Текст]"/>
      <dgm:spPr/>
      <dgm:t>
        <a:bodyPr/>
        <a:lstStyle/>
        <a:p>
          <a:r>
            <a:rPr lang="ru-RU" dirty="0" smtClean="0"/>
            <a:t>3 Внутреннее согласование закупочной документации</a:t>
          </a:r>
          <a:endParaRPr lang="ru-RU" dirty="0"/>
        </a:p>
      </dgm:t>
    </dgm:pt>
    <dgm:pt modelId="{B977B93D-1BF3-4C6A-8A43-097067CE1689}" type="parTrans" cxnId="{66D6ADA9-3192-4C93-9090-856ED117D8FF}">
      <dgm:prSet/>
      <dgm:spPr/>
      <dgm:t>
        <a:bodyPr/>
        <a:lstStyle/>
        <a:p>
          <a:endParaRPr lang="ru-RU"/>
        </a:p>
      </dgm:t>
    </dgm:pt>
    <dgm:pt modelId="{49F793AB-A2D2-40FC-9C2E-0F1464E2EA5A}" type="sibTrans" cxnId="{66D6ADA9-3192-4C93-9090-856ED117D8FF}">
      <dgm:prSet/>
      <dgm:spPr/>
      <dgm:t>
        <a:bodyPr/>
        <a:lstStyle/>
        <a:p>
          <a:endParaRPr lang="ru-RU"/>
        </a:p>
      </dgm:t>
    </dgm:pt>
    <dgm:pt modelId="{CBA4FD5F-2296-4072-987E-BD86707C0361}">
      <dgm:prSet phldrT="[Текст]"/>
      <dgm:spPr/>
      <dgm:t>
        <a:bodyPr/>
        <a:lstStyle/>
        <a:p>
          <a:r>
            <a:rPr lang="ru-RU" dirty="0" smtClean="0"/>
            <a:t>4 Объявление торговой процедуры</a:t>
          </a:r>
          <a:endParaRPr lang="ru-RU" dirty="0"/>
        </a:p>
      </dgm:t>
    </dgm:pt>
    <dgm:pt modelId="{825FCB06-6B4F-45C1-9212-CA0E4497884B}" type="parTrans" cxnId="{4217F4D7-763F-4883-8E7A-997361E95C28}">
      <dgm:prSet/>
      <dgm:spPr/>
      <dgm:t>
        <a:bodyPr/>
        <a:lstStyle/>
        <a:p>
          <a:endParaRPr lang="ru-RU"/>
        </a:p>
      </dgm:t>
    </dgm:pt>
    <dgm:pt modelId="{5B202B59-7524-43DF-871D-1FB28A058286}" type="sibTrans" cxnId="{4217F4D7-763F-4883-8E7A-997361E95C28}">
      <dgm:prSet/>
      <dgm:spPr/>
      <dgm:t>
        <a:bodyPr/>
        <a:lstStyle/>
        <a:p>
          <a:endParaRPr lang="ru-RU"/>
        </a:p>
      </dgm:t>
    </dgm:pt>
    <dgm:pt modelId="{C9B2E4D7-9EDA-4C0C-B364-D14B9599DD3B}">
      <dgm:prSet phldrT="[Текст]"/>
      <dgm:spPr/>
      <dgm:t>
        <a:bodyPr/>
        <a:lstStyle/>
        <a:p>
          <a:r>
            <a:rPr lang="ru-RU" dirty="0" smtClean="0"/>
            <a:t>5 Рассмотрение предложений</a:t>
          </a:r>
          <a:endParaRPr lang="ru-RU" dirty="0"/>
        </a:p>
      </dgm:t>
    </dgm:pt>
    <dgm:pt modelId="{34A616A2-B5BA-4CC3-A160-3DC0033F559D}" type="parTrans" cxnId="{3577EAE4-BE7B-4B34-8E4C-5CAC60EE5B96}">
      <dgm:prSet/>
      <dgm:spPr/>
      <dgm:t>
        <a:bodyPr/>
        <a:lstStyle/>
        <a:p>
          <a:endParaRPr lang="ru-RU"/>
        </a:p>
      </dgm:t>
    </dgm:pt>
    <dgm:pt modelId="{6C4F588B-CAB0-496A-8E8E-104631100178}" type="sibTrans" cxnId="{3577EAE4-BE7B-4B34-8E4C-5CAC60EE5B96}">
      <dgm:prSet/>
      <dgm:spPr/>
      <dgm:t>
        <a:bodyPr/>
        <a:lstStyle/>
        <a:p>
          <a:endParaRPr lang="ru-RU"/>
        </a:p>
      </dgm:t>
    </dgm:pt>
    <dgm:pt modelId="{78AC6CF0-344B-4826-BA5E-3F905E374672}">
      <dgm:prSet phldrT="[Текст]"/>
      <dgm:spPr/>
      <dgm:t>
        <a:bodyPr/>
        <a:lstStyle/>
        <a:p>
          <a:r>
            <a:rPr lang="ru-RU" dirty="0" smtClean="0"/>
            <a:t>6 Подведение итогов</a:t>
          </a:r>
          <a:endParaRPr lang="ru-RU" dirty="0"/>
        </a:p>
      </dgm:t>
    </dgm:pt>
    <dgm:pt modelId="{B51AA9A1-9B90-4623-9860-5A50FEEE0A35}" type="parTrans" cxnId="{6328894B-8D3E-40BC-AF4A-5D90AF0F5B9C}">
      <dgm:prSet/>
      <dgm:spPr/>
      <dgm:t>
        <a:bodyPr/>
        <a:lstStyle/>
        <a:p>
          <a:endParaRPr lang="ru-RU"/>
        </a:p>
      </dgm:t>
    </dgm:pt>
    <dgm:pt modelId="{7697A257-2CC8-4038-889A-EC57159B8F99}" type="sibTrans" cxnId="{6328894B-8D3E-40BC-AF4A-5D90AF0F5B9C}">
      <dgm:prSet/>
      <dgm:spPr/>
      <dgm:t>
        <a:bodyPr/>
        <a:lstStyle/>
        <a:p>
          <a:endParaRPr lang="ru-RU"/>
        </a:p>
      </dgm:t>
    </dgm:pt>
    <dgm:pt modelId="{3C7C2EF4-E46E-4889-83DD-F138EE782346}">
      <dgm:prSet phldrT="[Текст]"/>
      <dgm:spPr/>
      <dgm:t>
        <a:bodyPr lIns="0" rIns="0"/>
        <a:lstStyle/>
        <a:p>
          <a:r>
            <a:rPr lang="ru-RU" dirty="0" smtClean="0"/>
            <a:t>7 Формирование договора</a:t>
          </a:r>
          <a:endParaRPr lang="ru-RU" dirty="0"/>
        </a:p>
      </dgm:t>
    </dgm:pt>
    <dgm:pt modelId="{9C4966FB-F13B-41B4-AE0B-828E1C6A7330}" type="parTrans" cxnId="{4593196C-2BFB-490C-BDEF-3E26E8A6C6B9}">
      <dgm:prSet/>
      <dgm:spPr/>
      <dgm:t>
        <a:bodyPr/>
        <a:lstStyle/>
        <a:p>
          <a:endParaRPr lang="ru-RU"/>
        </a:p>
      </dgm:t>
    </dgm:pt>
    <dgm:pt modelId="{BC050E65-E173-4CE8-8C0F-F6CAD53B2ECC}" type="sibTrans" cxnId="{4593196C-2BFB-490C-BDEF-3E26E8A6C6B9}">
      <dgm:prSet/>
      <dgm:spPr/>
      <dgm:t>
        <a:bodyPr/>
        <a:lstStyle/>
        <a:p>
          <a:endParaRPr lang="ru-RU"/>
        </a:p>
      </dgm:t>
    </dgm:pt>
    <dgm:pt modelId="{7A777EB8-2430-490B-AC5E-55A551C6F8A9}">
      <dgm:prSet phldrT="[Текст]"/>
      <dgm:spPr/>
      <dgm:t>
        <a:bodyPr/>
        <a:lstStyle/>
        <a:p>
          <a:r>
            <a:rPr lang="ru-RU" dirty="0" smtClean="0"/>
            <a:t>8 Внутреннее согласование договора</a:t>
          </a:r>
          <a:endParaRPr lang="ru-RU" dirty="0"/>
        </a:p>
      </dgm:t>
    </dgm:pt>
    <dgm:pt modelId="{34A8D547-ECEE-40AB-A1CA-8ADB90D1181E}" type="parTrans" cxnId="{CD95A128-A2E1-4453-ADEF-FC0456D1D043}">
      <dgm:prSet/>
      <dgm:spPr/>
      <dgm:t>
        <a:bodyPr/>
        <a:lstStyle/>
        <a:p>
          <a:endParaRPr lang="ru-RU"/>
        </a:p>
      </dgm:t>
    </dgm:pt>
    <dgm:pt modelId="{CF84E7E5-DDD6-46C2-938C-09A17A08C629}" type="sibTrans" cxnId="{CD95A128-A2E1-4453-ADEF-FC0456D1D043}">
      <dgm:prSet/>
      <dgm:spPr/>
      <dgm:t>
        <a:bodyPr/>
        <a:lstStyle/>
        <a:p>
          <a:endParaRPr lang="ru-RU"/>
        </a:p>
      </dgm:t>
    </dgm:pt>
    <dgm:pt modelId="{2D111196-6D81-4EA7-87B3-AEF4289A31CF}">
      <dgm:prSet phldrT="[Текст]"/>
      <dgm:spPr/>
      <dgm:t>
        <a:bodyPr/>
        <a:lstStyle/>
        <a:p>
          <a:r>
            <a:rPr lang="ru-RU" dirty="0" smtClean="0"/>
            <a:t>9 Согласование договора с поставщиками и подписание</a:t>
          </a:r>
          <a:endParaRPr lang="ru-RU" dirty="0"/>
        </a:p>
      </dgm:t>
    </dgm:pt>
    <dgm:pt modelId="{9B932BB8-1455-467C-8B50-42BC1C7947D9}" type="parTrans" cxnId="{356AB8B9-59D6-4FB1-8416-7094C69B11C6}">
      <dgm:prSet/>
      <dgm:spPr/>
      <dgm:t>
        <a:bodyPr/>
        <a:lstStyle/>
        <a:p>
          <a:endParaRPr lang="ru-RU"/>
        </a:p>
      </dgm:t>
    </dgm:pt>
    <dgm:pt modelId="{C600860E-443D-4A57-95A6-40CC25BD8F53}" type="sibTrans" cxnId="{356AB8B9-59D6-4FB1-8416-7094C69B11C6}">
      <dgm:prSet/>
      <dgm:spPr/>
      <dgm:t>
        <a:bodyPr/>
        <a:lstStyle/>
        <a:p>
          <a:endParaRPr lang="ru-RU"/>
        </a:p>
      </dgm:t>
    </dgm:pt>
    <dgm:pt modelId="{45AA8397-0531-4A75-BE4F-20141FA88768}">
      <dgm:prSet phldrT="[Текст]"/>
      <dgm:spPr/>
      <dgm:t>
        <a:bodyPr/>
        <a:lstStyle/>
        <a:p>
          <a:r>
            <a:rPr lang="ru-RU" dirty="0" smtClean="0"/>
            <a:t>10 Обмен финансовыми документами</a:t>
          </a:r>
          <a:endParaRPr lang="ru-RU" dirty="0"/>
        </a:p>
      </dgm:t>
    </dgm:pt>
    <dgm:pt modelId="{0C82CC6D-A7F1-4E26-83C9-50012131B6B4}" type="parTrans" cxnId="{23E9547C-19F3-4093-BE3F-B08248B33989}">
      <dgm:prSet/>
      <dgm:spPr/>
      <dgm:t>
        <a:bodyPr/>
        <a:lstStyle/>
        <a:p>
          <a:endParaRPr lang="ru-RU"/>
        </a:p>
      </dgm:t>
    </dgm:pt>
    <dgm:pt modelId="{E9C527D6-2C65-440E-BBD0-766581338367}" type="sibTrans" cxnId="{23E9547C-19F3-4093-BE3F-B08248B33989}">
      <dgm:prSet/>
      <dgm:spPr/>
      <dgm:t>
        <a:bodyPr/>
        <a:lstStyle/>
        <a:p>
          <a:endParaRPr lang="ru-RU"/>
        </a:p>
      </dgm:t>
    </dgm:pt>
    <dgm:pt modelId="{1697FF74-0517-49F0-BBB4-93BCF6CC58FF}">
      <dgm:prSet phldrT="[Текст]"/>
      <dgm:spPr/>
      <dgm:t>
        <a:bodyPr/>
        <a:lstStyle/>
        <a:p>
          <a:r>
            <a:rPr lang="ru-RU" dirty="0" smtClean="0"/>
            <a:t>11 Контроль исполнения договора</a:t>
          </a:r>
          <a:endParaRPr lang="ru-RU" dirty="0"/>
        </a:p>
      </dgm:t>
    </dgm:pt>
    <dgm:pt modelId="{ED9F2CAE-E760-4044-84FB-8CB00A738E1B}" type="parTrans" cxnId="{301131BF-BF97-40C3-9134-E404B6CE4FC1}">
      <dgm:prSet/>
      <dgm:spPr/>
      <dgm:t>
        <a:bodyPr/>
        <a:lstStyle/>
        <a:p>
          <a:endParaRPr lang="ru-RU"/>
        </a:p>
      </dgm:t>
    </dgm:pt>
    <dgm:pt modelId="{975A0177-9BE3-404C-99AD-2FED461C2F9C}" type="sibTrans" cxnId="{301131BF-BF97-40C3-9134-E404B6CE4FC1}">
      <dgm:prSet/>
      <dgm:spPr/>
      <dgm:t>
        <a:bodyPr/>
        <a:lstStyle/>
        <a:p>
          <a:endParaRPr lang="ru-RU"/>
        </a:p>
      </dgm:t>
    </dgm:pt>
    <dgm:pt modelId="{4F4C0FEA-FF19-451B-B164-0DAC78FF9628}">
      <dgm:prSet phldrT="[Текст]"/>
      <dgm:spPr/>
      <dgm:t>
        <a:bodyPr/>
        <a:lstStyle/>
        <a:p>
          <a:r>
            <a:rPr lang="ru-RU" dirty="0" smtClean="0"/>
            <a:t>12 Анализ эффективности, обратная связь процесса</a:t>
          </a:r>
          <a:endParaRPr lang="ru-RU" dirty="0"/>
        </a:p>
      </dgm:t>
    </dgm:pt>
    <dgm:pt modelId="{1FB08B3E-1481-4786-BCE3-E9C76E69DFB4}" type="parTrans" cxnId="{D157CE18-00D0-42B9-8A91-7EC22D952EE6}">
      <dgm:prSet/>
      <dgm:spPr/>
      <dgm:t>
        <a:bodyPr/>
        <a:lstStyle/>
        <a:p>
          <a:endParaRPr lang="ru-RU"/>
        </a:p>
      </dgm:t>
    </dgm:pt>
    <dgm:pt modelId="{1FD0FDB5-34FC-4EAE-8681-4267C90CC5B7}" type="sibTrans" cxnId="{D157CE18-00D0-42B9-8A91-7EC22D952EE6}">
      <dgm:prSet/>
      <dgm:spPr/>
      <dgm:t>
        <a:bodyPr/>
        <a:lstStyle/>
        <a:p>
          <a:endParaRPr lang="ru-RU"/>
        </a:p>
      </dgm:t>
    </dgm:pt>
    <dgm:pt modelId="{3DC75831-9763-484B-BD3F-EF3588F2FA17}" type="pres">
      <dgm:prSet presAssocID="{D2A70C7C-1200-4284-9574-1D840D96D8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0687E2-97E8-40CA-9701-B4CB729ECB8F}" type="pres">
      <dgm:prSet presAssocID="{63787730-6A12-4DA7-9E1D-A478104B3D05}" presName="node" presStyleLbl="node1" presStyleIdx="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A0E4ED-115C-4FA6-8011-BC2149DB5690}" type="pres">
      <dgm:prSet presAssocID="{55FA1D25-71EB-41EC-8420-936000086EEC}" presName="sibTrans" presStyleLbl="sibTrans2D1" presStyleIdx="0" presStyleCnt="11"/>
      <dgm:spPr/>
      <dgm:t>
        <a:bodyPr/>
        <a:lstStyle/>
        <a:p>
          <a:endParaRPr lang="ru-RU"/>
        </a:p>
      </dgm:t>
    </dgm:pt>
    <dgm:pt modelId="{CB3A18AC-7EC4-465F-8FD5-F3272724F49A}" type="pres">
      <dgm:prSet presAssocID="{55FA1D25-71EB-41EC-8420-936000086EEC}" presName="connectorText" presStyleLbl="sibTrans2D1" presStyleIdx="0" presStyleCnt="11"/>
      <dgm:spPr/>
      <dgm:t>
        <a:bodyPr/>
        <a:lstStyle/>
        <a:p>
          <a:endParaRPr lang="ru-RU"/>
        </a:p>
      </dgm:t>
    </dgm:pt>
    <dgm:pt modelId="{8C776AA3-B65D-4075-BC22-4D15515F50E4}" type="pres">
      <dgm:prSet presAssocID="{2FFA74A3-C6F1-4658-AA58-DAB2C407C817}" presName="node" presStyleLbl="node1" presStyleIdx="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B17F74-E50E-49E7-BE75-7CB7C90F2283}" type="pres">
      <dgm:prSet presAssocID="{DD6AF92D-F279-41F2-BEA6-67A271514ABE}" presName="sibTrans" presStyleLbl="sibTrans2D1" presStyleIdx="1" presStyleCnt="11"/>
      <dgm:spPr/>
      <dgm:t>
        <a:bodyPr/>
        <a:lstStyle/>
        <a:p>
          <a:endParaRPr lang="ru-RU"/>
        </a:p>
      </dgm:t>
    </dgm:pt>
    <dgm:pt modelId="{E7EC7913-8C43-4A55-80ED-E4C55FDD254A}" type="pres">
      <dgm:prSet presAssocID="{DD6AF92D-F279-41F2-BEA6-67A271514ABE}" presName="connectorText" presStyleLbl="sibTrans2D1" presStyleIdx="1" presStyleCnt="11"/>
      <dgm:spPr/>
      <dgm:t>
        <a:bodyPr/>
        <a:lstStyle/>
        <a:p>
          <a:endParaRPr lang="ru-RU"/>
        </a:p>
      </dgm:t>
    </dgm:pt>
    <dgm:pt modelId="{234B9E23-103E-4494-9FFA-BF4D15968A30}" type="pres">
      <dgm:prSet presAssocID="{DD45326F-4475-4128-9A9F-A5E603CFC0D8}" presName="node" presStyleLbl="node1" presStyleIdx="2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862696-A2ED-460C-885A-E92A6BCDE8C6}" type="pres">
      <dgm:prSet presAssocID="{49F793AB-A2D2-40FC-9C2E-0F1464E2EA5A}" presName="sibTrans" presStyleLbl="sibTrans2D1" presStyleIdx="2" presStyleCnt="11"/>
      <dgm:spPr/>
      <dgm:t>
        <a:bodyPr/>
        <a:lstStyle/>
        <a:p>
          <a:endParaRPr lang="ru-RU"/>
        </a:p>
      </dgm:t>
    </dgm:pt>
    <dgm:pt modelId="{C798FFF0-5071-4229-B486-BF3868C93DB9}" type="pres">
      <dgm:prSet presAssocID="{49F793AB-A2D2-40FC-9C2E-0F1464E2EA5A}" presName="connectorText" presStyleLbl="sibTrans2D1" presStyleIdx="2" presStyleCnt="11"/>
      <dgm:spPr/>
      <dgm:t>
        <a:bodyPr/>
        <a:lstStyle/>
        <a:p>
          <a:endParaRPr lang="ru-RU"/>
        </a:p>
      </dgm:t>
    </dgm:pt>
    <dgm:pt modelId="{55322AD6-E72E-4099-88CF-58923D0A440C}" type="pres">
      <dgm:prSet presAssocID="{CBA4FD5F-2296-4072-987E-BD86707C0361}" presName="node" presStyleLbl="node1" presStyleIdx="3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DDB2F6-27D7-477E-BD0E-B9EF332CB9C3}" type="pres">
      <dgm:prSet presAssocID="{5B202B59-7524-43DF-871D-1FB28A058286}" presName="sibTrans" presStyleLbl="sibTrans2D1" presStyleIdx="3" presStyleCnt="11"/>
      <dgm:spPr/>
      <dgm:t>
        <a:bodyPr/>
        <a:lstStyle/>
        <a:p>
          <a:endParaRPr lang="ru-RU"/>
        </a:p>
      </dgm:t>
    </dgm:pt>
    <dgm:pt modelId="{4A855555-1E21-4001-9B7B-E0F68C88AC43}" type="pres">
      <dgm:prSet presAssocID="{5B202B59-7524-43DF-871D-1FB28A058286}" presName="connectorText" presStyleLbl="sibTrans2D1" presStyleIdx="3" presStyleCnt="11"/>
      <dgm:spPr/>
      <dgm:t>
        <a:bodyPr/>
        <a:lstStyle/>
        <a:p>
          <a:endParaRPr lang="ru-RU"/>
        </a:p>
      </dgm:t>
    </dgm:pt>
    <dgm:pt modelId="{64B5AF91-8719-4185-AD28-371A06A549C1}" type="pres">
      <dgm:prSet presAssocID="{C9B2E4D7-9EDA-4C0C-B364-D14B9599DD3B}" presName="node" presStyleLbl="node1" presStyleIdx="4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B50776-251C-44B4-AAA3-0F22BF3F50F2}" type="pres">
      <dgm:prSet presAssocID="{6C4F588B-CAB0-496A-8E8E-104631100178}" presName="sibTrans" presStyleLbl="sibTrans2D1" presStyleIdx="4" presStyleCnt="11"/>
      <dgm:spPr/>
      <dgm:t>
        <a:bodyPr/>
        <a:lstStyle/>
        <a:p>
          <a:endParaRPr lang="ru-RU"/>
        </a:p>
      </dgm:t>
    </dgm:pt>
    <dgm:pt modelId="{336FA401-CBD3-4296-AB5A-2A6E7D5B81A7}" type="pres">
      <dgm:prSet presAssocID="{6C4F588B-CAB0-496A-8E8E-104631100178}" presName="connectorText" presStyleLbl="sibTrans2D1" presStyleIdx="4" presStyleCnt="11"/>
      <dgm:spPr/>
      <dgm:t>
        <a:bodyPr/>
        <a:lstStyle/>
        <a:p>
          <a:endParaRPr lang="ru-RU"/>
        </a:p>
      </dgm:t>
    </dgm:pt>
    <dgm:pt modelId="{54C2D2CF-3FE8-41BD-B1E4-5CEE7948B504}" type="pres">
      <dgm:prSet presAssocID="{78AC6CF0-344B-4826-BA5E-3F905E374672}" presName="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AB8BEA-0CB6-41EE-8B28-FF9D5CC082E1}" type="pres">
      <dgm:prSet presAssocID="{7697A257-2CC8-4038-889A-EC57159B8F99}" presName="sibTrans" presStyleLbl="sibTrans2D1" presStyleIdx="5" presStyleCnt="11"/>
      <dgm:spPr/>
      <dgm:t>
        <a:bodyPr/>
        <a:lstStyle/>
        <a:p>
          <a:endParaRPr lang="ru-RU"/>
        </a:p>
      </dgm:t>
    </dgm:pt>
    <dgm:pt modelId="{69B515A4-A19E-4025-AAA7-D639A8C23F47}" type="pres">
      <dgm:prSet presAssocID="{7697A257-2CC8-4038-889A-EC57159B8F99}" presName="connectorText" presStyleLbl="sibTrans2D1" presStyleIdx="5" presStyleCnt="11"/>
      <dgm:spPr/>
      <dgm:t>
        <a:bodyPr/>
        <a:lstStyle/>
        <a:p>
          <a:endParaRPr lang="ru-RU"/>
        </a:p>
      </dgm:t>
    </dgm:pt>
    <dgm:pt modelId="{84DE3A44-3755-45B9-A34F-9D2260C8B74D}" type="pres">
      <dgm:prSet presAssocID="{3C7C2EF4-E46E-4889-83DD-F138EE782346}" presName="node" presStyleLbl="node1" presStyleIdx="6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8A1093-00C5-449D-8878-00AB3C0EDF98}" type="pres">
      <dgm:prSet presAssocID="{BC050E65-E173-4CE8-8C0F-F6CAD53B2ECC}" presName="sibTrans" presStyleLbl="sibTrans2D1" presStyleIdx="6" presStyleCnt="11"/>
      <dgm:spPr/>
      <dgm:t>
        <a:bodyPr/>
        <a:lstStyle/>
        <a:p>
          <a:endParaRPr lang="ru-RU"/>
        </a:p>
      </dgm:t>
    </dgm:pt>
    <dgm:pt modelId="{2FF02FDF-2906-4FD2-B6B1-687E87D77080}" type="pres">
      <dgm:prSet presAssocID="{BC050E65-E173-4CE8-8C0F-F6CAD53B2ECC}" presName="connectorText" presStyleLbl="sibTrans2D1" presStyleIdx="6" presStyleCnt="11"/>
      <dgm:spPr/>
      <dgm:t>
        <a:bodyPr/>
        <a:lstStyle/>
        <a:p>
          <a:endParaRPr lang="ru-RU"/>
        </a:p>
      </dgm:t>
    </dgm:pt>
    <dgm:pt modelId="{12AF003C-AB23-47B5-8287-DE1ED991E766}" type="pres">
      <dgm:prSet presAssocID="{7A777EB8-2430-490B-AC5E-55A551C6F8A9}" presName="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CB1F0-6504-4184-B624-5E32FDB5B87A}" type="pres">
      <dgm:prSet presAssocID="{CF84E7E5-DDD6-46C2-938C-09A17A08C629}" presName="sibTrans" presStyleLbl="sibTrans2D1" presStyleIdx="7" presStyleCnt="11"/>
      <dgm:spPr/>
      <dgm:t>
        <a:bodyPr/>
        <a:lstStyle/>
        <a:p>
          <a:endParaRPr lang="ru-RU"/>
        </a:p>
      </dgm:t>
    </dgm:pt>
    <dgm:pt modelId="{2A680C68-DB24-4DBD-9480-344A2789D7E5}" type="pres">
      <dgm:prSet presAssocID="{CF84E7E5-DDD6-46C2-938C-09A17A08C629}" presName="connectorText" presStyleLbl="sibTrans2D1" presStyleIdx="7" presStyleCnt="11"/>
      <dgm:spPr/>
      <dgm:t>
        <a:bodyPr/>
        <a:lstStyle/>
        <a:p>
          <a:endParaRPr lang="ru-RU"/>
        </a:p>
      </dgm:t>
    </dgm:pt>
    <dgm:pt modelId="{B18298A3-8CF9-4538-A62C-DD21D1BDD788}" type="pres">
      <dgm:prSet presAssocID="{2D111196-6D81-4EA7-87B3-AEF4289A31CF}" presName="node" presStyleLbl="node1" presStyleIdx="8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38C97D-1D39-40DE-814A-B9855ACD488B}" type="pres">
      <dgm:prSet presAssocID="{C600860E-443D-4A57-95A6-40CC25BD8F53}" presName="sibTrans" presStyleLbl="sibTrans2D1" presStyleIdx="8" presStyleCnt="11"/>
      <dgm:spPr/>
      <dgm:t>
        <a:bodyPr/>
        <a:lstStyle/>
        <a:p>
          <a:endParaRPr lang="ru-RU"/>
        </a:p>
      </dgm:t>
    </dgm:pt>
    <dgm:pt modelId="{C19DEBA9-27A3-4C93-B5F3-D7CDD1FD20D8}" type="pres">
      <dgm:prSet presAssocID="{C600860E-443D-4A57-95A6-40CC25BD8F53}" presName="connectorText" presStyleLbl="sibTrans2D1" presStyleIdx="8" presStyleCnt="11"/>
      <dgm:spPr/>
      <dgm:t>
        <a:bodyPr/>
        <a:lstStyle/>
        <a:p>
          <a:endParaRPr lang="ru-RU"/>
        </a:p>
      </dgm:t>
    </dgm:pt>
    <dgm:pt modelId="{AF1982A6-2818-41EB-BD91-8B71D6831884}" type="pres">
      <dgm:prSet presAssocID="{45AA8397-0531-4A75-BE4F-20141FA88768}" presName="node" presStyleLbl="node1" presStyleIdx="9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18065-017F-4502-8FB7-660849B38EE9}" type="pres">
      <dgm:prSet presAssocID="{E9C527D6-2C65-440E-BBD0-766581338367}" presName="sibTrans" presStyleLbl="sibTrans2D1" presStyleIdx="9" presStyleCnt="11"/>
      <dgm:spPr/>
      <dgm:t>
        <a:bodyPr/>
        <a:lstStyle/>
        <a:p>
          <a:endParaRPr lang="ru-RU"/>
        </a:p>
      </dgm:t>
    </dgm:pt>
    <dgm:pt modelId="{55936D10-7FB0-470A-8666-64CB8A66D0D2}" type="pres">
      <dgm:prSet presAssocID="{E9C527D6-2C65-440E-BBD0-766581338367}" presName="connectorText" presStyleLbl="sibTrans2D1" presStyleIdx="9" presStyleCnt="11"/>
      <dgm:spPr/>
      <dgm:t>
        <a:bodyPr/>
        <a:lstStyle/>
        <a:p>
          <a:endParaRPr lang="ru-RU"/>
        </a:p>
      </dgm:t>
    </dgm:pt>
    <dgm:pt modelId="{98F8AA3A-9B1C-4E12-9520-E93AE8B2E357}" type="pres">
      <dgm:prSet presAssocID="{1697FF74-0517-49F0-BBB4-93BCF6CC58FF}" presName="node" presStyleLbl="node1" presStyleIdx="1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EF37D3-A7B5-4FAC-AAEF-1E588711416B}" type="pres">
      <dgm:prSet presAssocID="{975A0177-9BE3-404C-99AD-2FED461C2F9C}" presName="sibTrans" presStyleLbl="sibTrans2D1" presStyleIdx="10" presStyleCnt="11"/>
      <dgm:spPr/>
      <dgm:t>
        <a:bodyPr/>
        <a:lstStyle/>
        <a:p>
          <a:endParaRPr lang="ru-RU"/>
        </a:p>
      </dgm:t>
    </dgm:pt>
    <dgm:pt modelId="{6552780F-013A-4E25-AF10-E288961A914C}" type="pres">
      <dgm:prSet presAssocID="{975A0177-9BE3-404C-99AD-2FED461C2F9C}" presName="connectorText" presStyleLbl="sibTrans2D1" presStyleIdx="10" presStyleCnt="11"/>
      <dgm:spPr/>
      <dgm:t>
        <a:bodyPr/>
        <a:lstStyle/>
        <a:p>
          <a:endParaRPr lang="ru-RU"/>
        </a:p>
      </dgm:t>
    </dgm:pt>
    <dgm:pt modelId="{8BBEEEC3-C819-4773-8A9B-2613B4438E3C}" type="pres">
      <dgm:prSet presAssocID="{4F4C0FEA-FF19-451B-B164-0DAC78FF9628}" presName="node" presStyleLbl="node1" presStyleIdx="1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8AFD8E-AE26-461F-9856-C6185A585B06}" type="presOf" srcId="{C9B2E4D7-9EDA-4C0C-B364-D14B9599DD3B}" destId="{64B5AF91-8719-4185-AD28-371A06A549C1}" srcOrd="0" destOrd="0" presId="urn:microsoft.com/office/officeart/2005/8/layout/process5"/>
    <dgm:cxn modelId="{61C26B3D-CA70-4839-A3B0-07DFC8D852B5}" type="presOf" srcId="{6C4F588B-CAB0-496A-8E8E-104631100178}" destId="{E2B50776-251C-44B4-AAA3-0F22BF3F50F2}" srcOrd="0" destOrd="0" presId="urn:microsoft.com/office/officeart/2005/8/layout/process5"/>
    <dgm:cxn modelId="{D775238C-04AB-433B-A733-F881D2BFFFB7}" type="presOf" srcId="{975A0177-9BE3-404C-99AD-2FED461C2F9C}" destId="{6552780F-013A-4E25-AF10-E288961A914C}" srcOrd="1" destOrd="0" presId="urn:microsoft.com/office/officeart/2005/8/layout/process5"/>
    <dgm:cxn modelId="{E7580433-D23B-4857-AE74-184D9ADC7B69}" srcId="{D2A70C7C-1200-4284-9574-1D840D96D88D}" destId="{2FFA74A3-C6F1-4658-AA58-DAB2C407C817}" srcOrd="1" destOrd="0" parTransId="{303E6D67-CBA7-400A-971D-8D4BBABF11AE}" sibTransId="{DD6AF92D-F279-41F2-BEA6-67A271514ABE}"/>
    <dgm:cxn modelId="{2EACB094-E22F-4D65-A1CC-15D38BD4FC74}" type="presOf" srcId="{78AC6CF0-344B-4826-BA5E-3F905E374672}" destId="{54C2D2CF-3FE8-41BD-B1E4-5CEE7948B504}" srcOrd="0" destOrd="0" presId="urn:microsoft.com/office/officeart/2005/8/layout/process5"/>
    <dgm:cxn modelId="{9C55CE7A-16B6-48A0-8620-DD6F018DB77C}" type="presOf" srcId="{CF84E7E5-DDD6-46C2-938C-09A17A08C629}" destId="{2A680C68-DB24-4DBD-9480-344A2789D7E5}" srcOrd="1" destOrd="0" presId="urn:microsoft.com/office/officeart/2005/8/layout/process5"/>
    <dgm:cxn modelId="{E076E366-1543-45AD-A218-0DF8FA9D4BE0}" type="presOf" srcId="{63787730-6A12-4DA7-9E1D-A478104B3D05}" destId="{9E0687E2-97E8-40CA-9701-B4CB729ECB8F}" srcOrd="0" destOrd="0" presId="urn:microsoft.com/office/officeart/2005/8/layout/process5"/>
    <dgm:cxn modelId="{4593196C-2BFB-490C-BDEF-3E26E8A6C6B9}" srcId="{D2A70C7C-1200-4284-9574-1D840D96D88D}" destId="{3C7C2EF4-E46E-4889-83DD-F138EE782346}" srcOrd="6" destOrd="0" parTransId="{9C4966FB-F13B-41B4-AE0B-828E1C6A7330}" sibTransId="{BC050E65-E173-4CE8-8C0F-F6CAD53B2ECC}"/>
    <dgm:cxn modelId="{301131BF-BF97-40C3-9134-E404B6CE4FC1}" srcId="{D2A70C7C-1200-4284-9574-1D840D96D88D}" destId="{1697FF74-0517-49F0-BBB4-93BCF6CC58FF}" srcOrd="10" destOrd="0" parTransId="{ED9F2CAE-E760-4044-84FB-8CB00A738E1B}" sibTransId="{975A0177-9BE3-404C-99AD-2FED461C2F9C}"/>
    <dgm:cxn modelId="{CD95A128-A2E1-4453-ADEF-FC0456D1D043}" srcId="{D2A70C7C-1200-4284-9574-1D840D96D88D}" destId="{7A777EB8-2430-490B-AC5E-55A551C6F8A9}" srcOrd="7" destOrd="0" parTransId="{34A8D547-ECEE-40AB-A1CA-8ADB90D1181E}" sibTransId="{CF84E7E5-DDD6-46C2-938C-09A17A08C629}"/>
    <dgm:cxn modelId="{B63A8E57-E670-4408-80B8-3187FD3222A9}" type="presOf" srcId="{C600860E-443D-4A57-95A6-40CC25BD8F53}" destId="{9E38C97D-1D39-40DE-814A-B9855ACD488B}" srcOrd="0" destOrd="0" presId="urn:microsoft.com/office/officeart/2005/8/layout/process5"/>
    <dgm:cxn modelId="{614AC0D7-4998-4CAB-A2B5-5231AC79F50B}" type="presOf" srcId="{CF84E7E5-DDD6-46C2-938C-09A17A08C629}" destId="{D94CB1F0-6504-4184-B624-5E32FDB5B87A}" srcOrd="0" destOrd="0" presId="urn:microsoft.com/office/officeart/2005/8/layout/process5"/>
    <dgm:cxn modelId="{1DB0D7FC-6D93-470D-995A-939E497A1870}" type="presOf" srcId="{4F4C0FEA-FF19-451B-B164-0DAC78FF9628}" destId="{8BBEEEC3-C819-4773-8A9B-2613B4438E3C}" srcOrd="0" destOrd="0" presId="urn:microsoft.com/office/officeart/2005/8/layout/process5"/>
    <dgm:cxn modelId="{47860FA4-5729-4F3E-8D15-18D32709CEFC}" type="presOf" srcId="{55FA1D25-71EB-41EC-8420-936000086EEC}" destId="{84A0E4ED-115C-4FA6-8011-BC2149DB5690}" srcOrd="0" destOrd="0" presId="urn:microsoft.com/office/officeart/2005/8/layout/process5"/>
    <dgm:cxn modelId="{FAF1E53A-7724-4259-8602-10E176543C42}" type="presOf" srcId="{7A777EB8-2430-490B-AC5E-55A551C6F8A9}" destId="{12AF003C-AB23-47B5-8287-DE1ED991E766}" srcOrd="0" destOrd="0" presId="urn:microsoft.com/office/officeart/2005/8/layout/process5"/>
    <dgm:cxn modelId="{6AC18FC5-E65B-43FF-A43F-9EEAE3EF47A4}" type="presOf" srcId="{DD6AF92D-F279-41F2-BEA6-67A271514ABE}" destId="{60B17F74-E50E-49E7-BE75-7CB7C90F2283}" srcOrd="0" destOrd="0" presId="urn:microsoft.com/office/officeart/2005/8/layout/process5"/>
    <dgm:cxn modelId="{46DF0A00-51EA-40C7-92E7-AB39901B90A6}" type="presOf" srcId="{E9C527D6-2C65-440E-BBD0-766581338367}" destId="{55936D10-7FB0-470A-8666-64CB8A66D0D2}" srcOrd="1" destOrd="0" presId="urn:microsoft.com/office/officeart/2005/8/layout/process5"/>
    <dgm:cxn modelId="{309DC62D-4394-4E46-A730-A7C23C054D90}" type="presOf" srcId="{BC050E65-E173-4CE8-8C0F-F6CAD53B2ECC}" destId="{C58A1093-00C5-449D-8878-00AB3C0EDF98}" srcOrd="0" destOrd="0" presId="urn:microsoft.com/office/officeart/2005/8/layout/process5"/>
    <dgm:cxn modelId="{B00673E4-DBF7-44F0-8D55-BA3609CDF2B8}" type="presOf" srcId="{CBA4FD5F-2296-4072-987E-BD86707C0361}" destId="{55322AD6-E72E-4099-88CF-58923D0A440C}" srcOrd="0" destOrd="0" presId="urn:microsoft.com/office/officeart/2005/8/layout/process5"/>
    <dgm:cxn modelId="{356AB8B9-59D6-4FB1-8416-7094C69B11C6}" srcId="{D2A70C7C-1200-4284-9574-1D840D96D88D}" destId="{2D111196-6D81-4EA7-87B3-AEF4289A31CF}" srcOrd="8" destOrd="0" parTransId="{9B932BB8-1455-467C-8B50-42BC1C7947D9}" sibTransId="{C600860E-443D-4A57-95A6-40CC25BD8F53}"/>
    <dgm:cxn modelId="{533DBE94-4AB1-41E7-8874-BE9FC8030D05}" type="presOf" srcId="{7697A257-2CC8-4038-889A-EC57159B8F99}" destId="{69B515A4-A19E-4025-AAA7-D639A8C23F47}" srcOrd="1" destOrd="0" presId="urn:microsoft.com/office/officeart/2005/8/layout/process5"/>
    <dgm:cxn modelId="{79CCFC92-E618-46F8-9D3D-F7775C0CDC80}" type="presOf" srcId="{5B202B59-7524-43DF-871D-1FB28A058286}" destId="{4A855555-1E21-4001-9B7B-E0F68C88AC43}" srcOrd="1" destOrd="0" presId="urn:microsoft.com/office/officeart/2005/8/layout/process5"/>
    <dgm:cxn modelId="{6328894B-8D3E-40BC-AF4A-5D90AF0F5B9C}" srcId="{D2A70C7C-1200-4284-9574-1D840D96D88D}" destId="{78AC6CF0-344B-4826-BA5E-3F905E374672}" srcOrd="5" destOrd="0" parTransId="{B51AA9A1-9B90-4623-9860-5A50FEEE0A35}" sibTransId="{7697A257-2CC8-4038-889A-EC57159B8F99}"/>
    <dgm:cxn modelId="{BA97B280-CF1E-41D8-ACF1-84C852D685B2}" type="presOf" srcId="{975A0177-9BE3-404C-99AD-2FED461C2F9C}" destId="{AAEF37D3-A7B5-4FAC-AAEF-1E588711416B}" srcOrd="0" destOrd="0" presId="urn:microsoft.com/office/officeart/2005/8/layout/process5"/>
    <dgm:cxn modelId="{47F45C0F-4A71-475E-8532-B31237B07999}" type="presOf" srcId="{6C4F588B-CAB0-496A-8E8E-104631100178}" destId="{336FA401-CBD3-4296-AB5A-2A6E7D5B81A7}" srcOrd="1" destOrd="0" presId="urn:microsoft.com/office/officeart/2005/8/layout/process5"/>
    <dgm:cxn modelId="{66D6ADA9-3192-4C93-9090-856ED117D8FF}" srcId="{D2A70C7C-1200-4284-9574-1D840D96D88D}" destId="{DD45326F-4475-4128-9A9F-A5E603CFC0D8}" srcOrd="2" destOrd="0" parTransId="{B977B93D-1BF3-4C6A-8A43-097067CE1689}" sibTransId="{49F793AB-A2D2-40FC-9C2E-0F1464E2EA5A}"/>
    <dgm:cxn modelId="{FA438D71-61D2-4E4F-A3A8-FD74C6EB373F}" type="presOf" srcId="{7697A257-2CC8-4038-889A-EC57159B8F99}" destId="{B4AB8BEA-0CB6-41EE-8B28-FF9D5CC082E1}" srcOrd="0" destOrd="0" presId="urn:microsoft.com/office/officeart/2005/8/layout/process5"/>
    <dgm:cxn modelId="{4A1AE19E-797F-4B18-BFCB-D09E3613D85A}" type="presOf" srcId="{DD45326F-4475-4128-9A9F-A5E603CFC0D8}" destId="{234B9E23-103E-4494-9FFA-BF4D15968A30}" srcOrd="0" destOrd="0" presId="urn:microsoft.com/office/officeart/2005/8/layout/process5"/>
    <dgm:cxn modelId="{85C7C5B8-3EDB-4C58-BA74-5604593C1EEE}" type="presOf" srcId="{E9C527D6-2C65-440E-BBD0-766581338367}" destId="{88818065-017F-4502-8FB7-660849B38EE9}" srcOrd="0" destOrd="0" presId="urn:microsoft.com/office/officeart/2005/8/layout/process5"/>
    <dgm:cxn modelId="{3577EAE4-BE7B-4B34-8E4C-5CAC60EE5B96}" srcId="{D2A70C7C-1200-4284-9574-1D840D96D88D}" destId="{C9B2E4D7-9EDA-4C0C-B364-D14B9599DD3B}" srcOrd="4" destOrd="0" parTransId="{34A616A2-B5BA-4CC3-A160-3DC0033F559D}" sibTransId="{6C4F588B-CAB0-496A-8E8E-104631100178}"/>
    <dgm:cxn modelId="{D602E89E-D348-4564-A29B-C3B22A1813E8}" type="presOf" srcId="{3C7C2EF4-E46E-4889-83DD-F138EE782346}" destId="{84DE3A44-3755-45B9-A34F-9D2260C8B74D}" srcOrd="0" destOrd="0" presId="urn:microsoft.com/office/officeart/2005/8/layout/process5"/>
    <dgm:cxn modelId="{C5E05E64-40D2-4112-8A38-AAF18667469F}" type="presOf" srcId="{D2A70C7C-1200-4284-9574-1D840D96D88D}" destId="{3DC75831-9763-484B-BD3F-EF3588F2FA17}" srcOrd="0" destOrd="0" presId="urn:microsoft.com/office/officeart/2005/8/layout/process5"/>
    <dgm:cxn modelId="{5BA69632-8697-4DB9-8DFB-9EF43DF41737}" type="presOf" srcId="{55FA1D25-71EB-41EC-8420-936000086EEC}" destId="{CB3A18AC-7EC4-465F-8FD5-F3272724F49A}" srcOrd="1" destOrd="0" presId="urn:microsoft.com/office/officeart/2005/8/layout/process5"/>
    <dgm:cxn modelId="{4217F4D7-763F-4883-8E7A-997361E95C28}" srcId="{D2A70C7C-1200-4284-9574-1D840D96D88D}" destId="{CBA4FD5F-2296-4072-987E-BD86707C0361}" srcOrd="3" destOrd="0" parTransId="{825FCB06-6B4F-45C1-9212-CA0E4497884B}" sibTransId="{5B202B59-7524-43DF-871D-1FB28A058286}"/>
    <dgm:cxn modelId="{8993C273-DE20-4ED3-B09D-C4474224724B}" type="presOf" srcId="{2D111196-6D81-4EA7-87B3-AEF4289A31CF}" destId="{B18298A3-8CF9-4538-A62C-DD21D1BDD788}" srcOrd="0" destOrd="0" presId="urn:microsoft.com/office/officeart/2005/8/layout/process5"/>
    <dgm:cxn modelId="{9B3B6D46-A440-4FFE-BB8B-E6B8C5D2ADC3}" type="presOf" srcId="{BC050E65-E173-4CE8-8C0F-F6CAD53B2ECC}" destId="{2FF02FDF-2906-4FD2-B6B1-687E87D77080}" srcOrd="1" destOrd="0" presId="urn:microsoft.com/office/officeart/2005/8/layout/process5"/>
    <dgm:cxn modelId="{111F75DD-776D-44A5-AC3C-B2F59D7CB1FE}" type="presOf" srcId="{5B202B59-7524-43DF-871D-1FB28A058286}" destId="{D6DDB2F6-27D7-477E-BD0E-B9EF332CB9C3}" srcOrd="0" destOrd="0" presId="urn:microsoft.com/office/officeart/2005/8/layout/process5"/>
    <dgm:cxn modelId="{D157CE18-00D0-42B9-8A91-7EC22D952EE6}" srcId="{D2A70C7C-1200-4284-9574-1D840D96D88D}" destId="{4F4C0FEA-FF19-451B-B164-0DAC78FF9628}" srcOrd="11" destOrd="0" parTransId="{1FB08B3E-1481-4786-BCE3-E9C76E69DFB4}" sibTransId="{1FD0FDB5-34FC-4EAE-8681-4267C90CC5B7}"/>
    <dgm:cxn modelId="{2342FC36-0A19-4454-9B60-3B8DEC868953}" srcId="{D2A70C7C-1200-4284-9574-1D840D96D88D}" destId="{63787730-6A12-4DA7-9E1D-A478104B3D05}" srcOrd="0" destOrd="0" parTransId="{526744E0-CB04-4790-80FD-346468065FAB}" sibTransId="{55FA1D25-71EB-41EC-8420-936000086EEC}"/>
    <dgm:cxn modelId="{3BD8C6B7-3270-4B64-BA69-9524374C0221}" type="presOf" srcId="{45AA8397-0531-4A75-BE4F-20141FA88768}" destId="{AF1982A6-2818-41EB-BD91-8B71D6831884}" srcOrd="0" destOrd="0" presId="urn:microsoft.com/office/officeart/2005/8/layout/process5"/>
    <dgm:cxn modelId="{EB33E370-400E-4843-92B3-FCC57DE32D9A}" type="presOf" srcId="{2FFA74A3-C6F1-4658-AA58-DAB2C407C817}" destId="{8C776AA3-B65D-4075-BC22-4D15515F50E4}" srcOrd="0" destOrd="0" presId="urn:microsoft.com/office/officeart/2005/8/layout/process5"/>
    <dgm:cxn modelId="{D34EC5A2-BC80-4E65-9688-F0CB67CFB4B0}" type="presOf" srcId="{DD6AF92D-F279-41F2-BEA6-67A271514ABE}" destId="{E7EC7913-8C43-4A55-80ED-E4C55FDD254A}" srcOrd="1" destOrd="0" presId="urn:microsoft.com/office/officeart/2005/8/layout/process5"/>
    <dgm:cxn modelId="{0EA5827D-E517-4424-8521-7ACC600C71F4}" type="presOf" srcId="{49F793AB-A2D2-40FC-9C2E-0F1464E2EA5A}" destId="{C798FFF0-5071-4229-B486-BF3868C93DB9}" srcOrd="1" destOrd="0" presId="urn:microsoft.com/office/officeart/2005/8/layout/process5"/>
    <dgm:cxn modelId="{5E08CE97-9A96-47B6-9B85-46ACFD3C50C8}" type="presOf" srcId="{49F793AB-A2D2-40FC-9C2E-0F1464E2EA5A}" destId="{26862696-A2ED-460C-885A-E92A6BCDE8C6}" srcOrd="0" destOrd="0" presId="urn:microsoft.com/office/officeart/2005/8/layout/process5"/>
    <dgm:cxn modelId="{AFB12589-4AA0-42B4-871D-2CD720EDFDC2}" type="presOf" srcId="{1697FF74-0517-49F0-BBB4-93BCF6CC58FF}" destId="{98F8AA3A-9B1C-4E12-9520-E93AE8B2E357}" srcOrd="0" destOrd="0" presId="urn:microsoft.com/office/officeart/2005/8/layout/process5"/>
    <dgm:cxn modelId="{23E9547C-19F3-4093-BE3F-B08248B33989}" srcId="{D2A70C7C-1200-4284-9574-1D840D96D88D}" destId="{45AA8397-0531-4A75-BE4F-20141FA88768}" srcOrd="9" destOrd="0" parTransId="{0C82CC6D-A7F1-4E26-83C9-50012131B6B4}" sibTransId="{E9C527D6-2C65-440E-BBD0-766581338367}"/>
    <dgm:cxn modelId="{3E0D06C0-090B-491A-84B4-C5E5B01621C4}" type="presOf" srcId="{C600860E-443D-4A57-95A6-40CC25BD8F53}" destId="{C19DEBA9-27A3-4C93-B5F3-D7CDD1FD20D8}" srcOrd="1" destOrd="0" presId="urn:microsoft.com/office/officeart/2005/8/layout/process5"/>
    <dgm:cxn modelId="{F513C3A6-4B57-491A-A696-9738E2289F99}" type="presParOf" srcId="{3DC75831-9763-484B-BD3F-EF3588F2FA17}" destId="{9E0687E2-97E8-40CA-9701-B4CB729ECB8F}" srcOrd="0" destOrd="0" presId="urn:microsoft.com/office/officeart/2005/8/layout/process5"/>
    <dgm:cxn modelId="{EED2C1FF-138D-430C-8632-F97982953FF3}" type="presParOf" srcId="{3DC75831-9763-484B-BD3F-EF3588F2FA17}" destId="{84A0E4ED-115C-4FA6-8011-BC2149DB5690}" srcOrd="1" destOrd="0" presId="urn:microsoft.com/office/officeart/2005/8/layout/process5"/>
    <dgm:cxn modelId="{784E3100-D62B-4209-9B18-721AD34E042C}" type="presParOf" srcId="{84A0E4ED-115C-4FA6-8011-BC2149DB5690}" destId="{CB3A18AC-7EC4-465F-8FD5-F3272724F49A}" srcOrd="0" destOrd="0" presId="urn:microsoft.com/office/officeart/2005/8/layout/process5"/>
    <dgm:cxn modelId="{16BE3E15-326C-45FE-AB81-7787260D8F00}" type="presParOf" srcId="{3DC75831-9763-484B-BD3F-EF3588F2FA17}" destId="{8C776AA3-B65D-4075-BC22-4D15515F50E4}" srcOrd="2" destOrd="0" presId="urn:microsoft.com/office/officeart/2005/8/layout/process5"/>
    <dgm:cxn modelId="{5D90A3A5-11F4-45B2-A336-75785CE2F1C9}" type="presParOf" srcId="{3DC75831-9763-484B-BD3F-EF3588F2FA17}" destId="{60B17F74-E50E-49E7-BE75-7CB7C90F2283}" srcOrd="3" destOrd="0" presId="urn:microsoft.com/office/officeart/2005/8/layout/process5"/>
    <dgm:cxn modelId="{6C06630C-51E8-4676-943A-7D85DEF71054}" type="presParOf" srcId="{60B17F74-E50E-49E7-BE75-7CB7C90F2283}" destId="{E7EC7913-8C43-4A55-80ED-E4C55FDD254A}" srcOrd="0" destOrd="0" presId="urn:microsoft.com/office/officeart/2005/8/layout/process5"/>
    <dgm:cxn modelId="{C212ACD2-BCE9-47C4-ABF4-4B48845A7029}" type="presParOf" srcId="{3DC75831-9763-484B-BD3F-EF3588F2FA17}" destId="{234B9E23-103E-4494-9FFA-BF4D15968A30}" srcOrd="4" destOrd="0" presId="urn:microsoft.com/office/officeart/2005/8/layout/process5"/>
    <dgm:cxn modelId="{FA3E8546-128D-4E47-935E-868C5EC0390F}" type="presParOf" srcId="{3DC75831-9763-484B-BD3F-EF3588F2FA17}" destId="{26862696-A2ED-460C-885A-E92A6BCDE8C6}" srcOrd="5" destOrd="0" presId="urn:microsoft.com/office/officeart/2005/8/layout/process5"/>
    <dgm:cxn modelId="{C4D61563-C58D-4A97-BF4A-EBFCE6F81010}" type="presParOf" srcId="{26862696-A2ED-460C-885A-E92A6BCDE8C6}" destId="{C798FFF0-5071-4229-B486-BF3868C93DB9}" srcOrd="0" destOrd="0" presId="urn:microsoft.com/office/officeart/2005/8/layout/process5"/>
    <dgm:cxn modelId="{AA9C3470-9E65-4DC0-9C59-08124E4C56F5}" type="presParOf" srcId="{3DC75831-9763-484B-BD3F-EF3588F2FA17}" destId="{55322AD6-E72E-4099-88CF-58923D0A440C}" srcOrd="6" destOrd="0" presId="urn:microsoft.com/office/officeart/2005/8/layout/process5"/>
    <dgm:cxn modelId="{2DE7EFEC-A405-4395-8EDB-B676CA84616D}" type="presParOf" srcId="{3DC75831-9763-484B-BD3F-EF3588F2FA17}" destId="{D6DDB2F6-27D7-477E-BD0E-B9EF332CB9C3}" srcOrd="7" destOrd="0" presId="urn:microsoft.com/office/officeart/2005/8/layout/process5"/>
    <dgm:cxn modelId="{C4288AE0-37D3-4D58-9542-48E50E7E2609}" type="presParOf" srcId="{D6DDB2F6-27D7-477E-BD0E-B9EF332CB9C3}" destId="{4A855555-1E21-4001-9B7B-E0F68C88AC43}" srcOrd="0" destOrd="0" presId="urn:microsoft.com/office/officeart/2005/8/layout/process5"/>
    <dgm:cxn modelId="{A0AB8668-3F39-4649-9A26-2DB0FB4253A3}" type="presParOf" srcId="{3DC75831-9763-484B-BD3F-EF3588F2FA17}" destId="{64B5AF91-8719-4185-AD28-371A06A549C1}" srcOrd="8" destOrd="0" presId="urn:microsoft.com/office/officeart/2005/8/layout/process5"/>
    <dgm:cxn modelId="{4E11DEF1-BD5E-4E86-A82A-33FC713ED97F}" type="presParOf" srcId="{3DC75831-9763-484B-BD3F-EF3588F2FA17}" destId="{E2B50776-251C-44B4-AAA3-0F22BF3F50F2}" srcOrd="9" destOrd="0" presId="urn:microsoft.com/office/officeart/2005/8/layout/process5"/>
    <dgm:cxn modelId="{9CD6F114-328A-4A89-9FFC-CE1DDEBF9702}" type="presParOf" srcId="{E2B50776-251C-44B4-AAA3-0F22BF3F50F2}" destId="{336FA401-CBD3-4296-AB5A-2A6E7D5B81A7}" srcOrd="0" destOrd="0" presId="urn:microsoft.com/office/officeart/2005/8/layout/process5"/>
    <dgm:cxn modelId="{5EEB666F-B80E-4E58-BE43-3941C2C6E858}" type="presParOf" srcId="{3DC75831-9763-484B-BD3F-EF3588F2FA17}" destId="{54C2D2CF-3FE8-41BD-B1E4-5CEE7948B504}" srcOrd="10" destOrd="0" presId="urn:microsoft.com/office/officeart/2005/8/layout/process5"/>
    <dgm:cxn modelId="{938F8095-BF97-4DCB-B5A2-588D7E9B8125}" type="presParOf" srcId="{3DC75831-9763-484B-BD3F-EF3588F2FA17}" destId="{B4AB8BEA-0CB6-41EE-8B28-FF9D5CC082E1}" srcOrd="11" destOrd="0" presId="urn:microsoft.com/office/officeart/2005/8/layout/process5"/>
    <dgm:cxn modelId="{E56866C9-85AE-4FA4-B9CC-F86B94AF269B}" type="presParOf" srcId="{B4AB8BEA-0CB6-41EE-8B28-FF9D5CC082E1}" destId="{69B515A4-A19E-4025-AAA7-D639A8C23F47}" srcOrd="0" destOrd="0" presId="urn:microsoft.com/office/officeart/2005/8/layout/process5"/>
    <dgm:cxn modelId="{F3132976-4ECF-461C-B2DB-6B80D14E14F5}" type="presParOf" srcId="{3DC75831-9763-484B-BD3F-EF3588F2FA17}" destId="{84DE3A44-3755-45B9-A34F-9D2260C8B74D}" srcOrd="12" destOrd="0" presId="urn:microsoft.com/office/officeart/2005/8/layout/process5"/>
    <dgm:cxn modelId="{3AC51634-89D1-48AE-924F-9810EED708CE}" type="presParOf" srcId="{3DC75831-9763-484B-BD3F-EF3588F2FA17}" destId="{C58A1093-00C5-449D-8878-00AB3C0EDF98}" srcOrd="13" destOrd="0" presId="urn:microsoft.com/office/officeart/2005/8/layout/process5"/>
    <dgm:cxn modelId="{BFE101A4-D456-4273-A31D-A08D10F52431}" type="presParOf" srcId="{C58A1093-00C5-449D-8878-00AB3C0EDF98}" destId="{2FF02FDF-2906-4FD2-B6B1-687E87D77080}" srcOrd="0" destOrd="0" presId="urn:microsoft.com/office/officeart/2005/8/layout/process5"/>
    <dgm:cxn modelId="{3BC92651-8371-44AF-8ADB-5EF21FA61E9B}" type="presParOf" srcId="{3DC75831-9763-484B-BD3F-EF3588F2FA17}" destId="{12AF003C-AB23-47B5-8287-DE1ED991E766}" srcOrd="14" destOrd="0" presId="urn:microsoft.com/office/officeart/2005/8/layout/process5"/>
    <dgm:cxn modelId="{FA3FD753-91AC-41FC-9F67-34FA35FF7BB6}" type="presParOf" srcId="{3DC75831-9763-484B-BD3F-EF3588F2FA17}" destId="{D94CB1F0-6504-4184-B624-5E32FDB5B87A}" srcOrd="15" destOrd="0" presId="urn:microsoft.com/office/officeart/2005/8/layout/process5"/>
    <dgm:cxn modelId="{B4806A60-9E0E-4729-8D32-9F97536B34DE}" type="presParOf" srcId="{D94CB1F0-6504-4184-B624-5E32FDB5B87A}" destId="{2A680C68-DB24-4DBD-9480-344A2789D7E5}" srcOrd="0" destOrd="0" presId="urn:microsoft.com/office/officeart/2005/8/layout/process5"/>
    <dgm:cxn modelId="{5ED5B6F5-739B-4C00-91A1-7CAB7A61A89E}" type="presParOf" srcId="{3DC75831-9763-484B-BD3F-EF3588F2FA17}" destId="{B18298A3-8CF9-4538-A62C-DD21D1BDD788}" srcOrd="16" destOrd="0" presId="urn:microsoft.com/office/officeart/2005/8/layout/process5"/>
    <dgm:cxn modelId="{E49EFDD0-A72F-46AB-8A5F-56F912C61AE5}" type="presParOf" srcId="{3DC75831-9763-484B-BD3F-EF3588F2FA17}" destId="{9E38C97D-1D39-40DE-814A-B9855ACD488B}" srcOrd="17" destOrd="0" presId="urn:microsoft.com/office/officeart/2005/8/layout/process5"/>
    <dgm:cxn modelId="{FB23C897-31CA-4297-A31C-77707AC94661}" type="presParOf" srcId="{9E38C97D-1D39-40DE-814A-B9855ACD488B}" destId="{C19DEBA9-27A3-4C93-B5F3-D7CDD1FD20D8}" srcOrd="0" destOrd="0" presId="urn:microsoft.com/office/officeart/2005/8/layout/process5"/>
    <dgm:cxn modelId="{DB5B0FBE-80F1-43B7-8C25-AB6FD8A235D1}" type="presParOf" srcId="{3DC75831-9763-484B-BD3F-EF3588F2FA17}" destId="{AF1982A6-2818-41EB-BD91-8B71D6831884}" srcOrd="18" destOrd="0" presId="urn:microsoft.com/office/officeart/2005/8/layout/process5"/>
    <dgm:cxn modelId="{6F01BD56-1510-453C-B7E9-A619DDCC329C}" type="presParOf" srcId="{3DC75831-9763-484B-BD3F-EF3588F2FA17}" destId="{88818065-017F-4502-8FB7-660849B38EE9}" srcOrd="19" destOrd="0" presId="urn:microsoft.com/office/officeart/2005/8/layout/process5"/>
    <dgm:cxn modelId="{DC6A14E6-09EF-47C1-A867-B720F2C827A6}" type="presParOf" srcId="{88818065-017F-4502-8FB7-660849B38EE9}" destId="{55936D10-7FB0-470A-8666-64CB8A66D0D2}" srcOrd="0" destOrd="0" presId="urn:microsoft.com/office/officeart/2005/8/layout/process5"/>
    <dgm:cxn modelId="{91ED1986-BA6C-41D7-A74A-16385BB14C7C}" type="presParOf" srcId="{3DC75831-9763-484B-BD3F-EF3588F2FA17}" destId="{98F8AA3A-9B1C-4E12-9520-E93AE8B2E357}" srcOrd="20" destOrd="0" presId="urn:microsoft.com/office/officeart/2005/8/layout/process5"/>
    <dgm:cxn modelId="{DFB61CD4-2CF1-428F-A1B1-BC4F44AE0DB5}" type="presParOf" srcId="{3DC75831-9763-484B-BD3F-EF3588F2FA17}" destId="{AAEF37D3-A7B5-4FAC-AAEF-1E588711416B}" srcOrd="21" destOrd="0" presId="urn:microsoft.com/office/officeart/2005/8/layout/process5"/>
    <dgm:cxn modelId="{BCC9C55A-6ED6-4DC1-9C8E-B8EFDDF97D87}" type="presParOf" srcId="{AAEF37D3-A7B5-4FAC-AAEF-1E588711416B}" destId="{6552780F-013A-4E25-AF10-E288961A914C}" srcOrd="0" destOrd="0" presId="urn:microsoft.com/office/officeart/2005/8/layout/process5"/>
    <dgm:cxn modelId="{BF52E7A9-E5E4-4082-A298-5A560A045205}" type="presParOf" srcId="{3DC75831-9763-484B-BD3F-EF3588F2FA17}" destId="{8BBEEEC3-C819-4773-8A9B-2613B4438E3C}" srcOrd="2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2A70C7C-1200-4284-9574-1D840D96D88D}" type="doc">
      <dgm:prSet loTypeId="urn:microsoft.com/office/officeart/2005/8/layout/process5" loCatId="process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63787730-6A12-4DA7-9E1D-A478104B3D05}">
      <dgm:prSet phldrT="[Текст]"/>
      <dgm:spPr/>
      <dgm:t>
        <a:bodyPr/>
        <a:lstStyle/>
        <a:p>
          <a:r>
            <a:rPr lang="ru-RU" dirty="0" smtClean="0"/>
            <a:t>Планирование закупок</a:t>
          </a:r>
          <a:endParaRPr lang="ru-RU" dirty="0"/>
        </a:p>
      </dgm:t>
    </dgm:pt>
    <dgm:pt modelId="{526744E0-CB04-4790-80FD-346468065FAB}" type="parTrans" cxnId="{2342FC36-0A19-4454-9B60-3B8DEC868953}">
      <dgm:prSet/>
      <dgm:spPr/>
      <dgm:t>
        <a:bodyPr/>
        <a:lstStyle/>
        <a:p>
          <a:endParaRPr lang="ru-RU"/>
        </a:p>
      </dgm:t>
    </dgm:pt>
    <dgm:pt modelId="{55FA1D25-71EB-41EC-8420-936000086EEC}" type="sibTrans" cxnId="{2342FC36-0A19-4454-9B60-3B8DEC868953}">
      <dgm:prSet/>
      <dgm:spPr/>
      <dgm:t>
        <a:bodyPr/>
        <a:lstStyle/>
        <a:p>
          <a:endParaRPr lang="ru-RU"/>
        </a:p>
      </dgm:t>
    </dgm:pt>
    <dgm:pt modelId="{2FFA74A3-C6F1-4658-AA58-DAB2C407C817}">
      <dgm:prSet phldrT="[Текст]"/>
      <dgm:spPr/>
      <dgm:t>
        <a:bodyPr/>
        <a:lstStyle/>
        <a:p>
          <a:r>
            <a:rPr lang="ru-RU" dirty="0" smtClean="0"/>
            <a:t>Формирование закупочной документации</a:t>
          </a:r>
          <a:endParaRPr lang="ru-RU" dirty="0"/>
        </a:p>
      </dgm:t>
    </dgm:pt>
    <dgm:pt modelId="{303E6D67-CBA7-400A-971D-8D4BBABF11AE}" type="parTrans" cxnId="{E7580433-D23B-4857-AE74-184D9ADC7B69}">
      <dgm:prSet/>
      <dgm:spPr/>
      <dgm:t>
        <a:bodyPr/>
        <a:lstStyle/>
        <a:p>
          <a:endParaRPr lang="ru-RU"/>
        </a:p>
      </dgm:t>
    </dgm:pt>
    <dgm:pt modelId="{DD6AF92D-F279-41F2-BEA6-67A271514ABE}" type="sibTrans" cxnId="{E7580433-D23B-4857-AE74-184D9ADC7B69}">
      <dgm:prSet/>
      <dgm:spPr/>
      <dgm:t>
        <a:bodyPr/>
        <a:lstStyle/>
        <a:p>
          <a:endParaRPr lang="ru-RU"/>
        </a:p>
      </dgm:t>
    </dgm:pt>
    <dgm:pt modelId="{DD45326F-4475-4128-9A9F-A5E603CFC0D8}">
      <dgm:prSet phldrT="[Текст]"/>
      <dgm:spPr/>
      <dgm:t>
        <a:bodyPr/>
        <a:lstStyle/>
        <a:p>
          <a:r>
            <a:rPr lang="ru-RU" dirty="0" smtClean="0"/>
            <a:t>Внутреннее согласование закупочной документации</a:t>
          </a:r>
          <a:endParaRPr lang="ru-RU" dirty="0"/>
        </a:p>
      </dgm:t>
    </dgm:pt>
    <dgm:pt modelId="{B977B93D-1BF3-4C6A-8A43-097067CE1689}" type="parTrans" cxnId="{66D6ADA9-3192-4C93-9090-856ED117D8FF}">
      <dgm:prSet/>
      <dgm:spPr/>
      <dgm:t>
        <a:bodyPr/>
        <a:lstStyle/>
        <a:p>
          <a:endParaRPr lang="ru-RU"/>
        </a:p>
      </dgm:t>
    </dgm:pt>
    <dgm:pt modelId="{49F793AB-A2D2-40FC-9C2E-0F1464E2EA5A}" type="sibTrans" cxnId="{66D6ADA9-3192-4C93-9090-856ED117D8FF}">
      <dgm:prSet/>
      <dgm:spPr/>
      <dgm:t>
        <a:bodyPr/>
        <a:lstStyle/>
        <a:p>
          <a:endParaRPr lang="ru-RU"/>
        </a:p>
      </dgm:t>
    </dgm:pt>
    <dgm:pt modelId="{CBA4FD5F-2296-4072-987E-BD86707C0361}">
      <dgm:prSet phldrT="[Текст]"/>
      <dgm:spPr/>
      <dgm:t>
        <a:bodyPr/>
        <a:lstStyle/>
        <a:p>
          <a:r>
            <a:rPr lang="ru-RU" dirty="0" smtClean="0"/>
            <a:t>Объявление торговой процедуры</a:t>
          </a:r>
          <a:endParaRPr lang="ru-RU" dirty="0"/>
        </a:p>
      </dgm:t>
    </dgm:pt>
    <dgm:pt modelId="{825FCB06-6B4F-45C1-9212-CA0E4497884B}" type="parTrans" cxnId="{4217F4D7-763F-4883-8E7A-997361E95C28}">
      <dgm:prSet/>
      <dgm:spPr/>
      <dgm:t>
        <a:bodyPr/>
        <a:lstStyle/>
        <a:p>
          <a:endParaRPr lang="ru-RU"/>
        </a:p>
      </dgm:t>
    </dgm:pt>
    <dgm:pt modelId="{5B202B59-7524-43DF-871D-1FB28A058286}" type="sibTrans" cxnId="{4217F4D7-763F-4883-8E7A-997361E95C28}">
      <dgm:prSet/>
      <dgm:spPr/>
      <dgm:t>
        <a:bodyPr/>
        <a:lstStyle/>
        <a:p>
          <a:endParaRPr lang="ru-RU"/>
        </a:p>
      </dgm:t>
    </dgm:pt>
    <dgm:pt modelId="{C9B2E4D7-9EDA-4C0C-B364-D14B9599DD3B}">
      <dgm:prSet phldrT="[Текст]"/>
      <dgm:spPr/>
      <dgm:t>
        <a:bodyPr/>
        <a:lstStyle/>
        <a:p>
          <a:r>
            <a:rPr lang="ru-RU" dirty="0" smtClean="0"/>
            <a:t>Рассмотрение предложений</a:t>
          </a:r>
          <a:endParaRPr lang="ru-RU" dirty="0"/>
        </a:p>
      </dgm:t>
    </dgm:pt>
    <dgm:pt modelId="{34A616A2-B5BA-4CC3-A160-3DC0033F559D}" type="parTrans" cxnId="{3577EAE4-BE7B-4B34-8E4C-5CAC60EE5B96}">
      <dgm:prSet/>
      <dgm:spPr/>
      <dgm:t>
        <a:bodyPr/>
        <a:lstStyle/>
        <a:p>
          <a:endParaRPr lang="ru-RU"/>
        </a:p>
      </dgm:t>
    </dgm:pt>
    <dgm:pt modelId="{6C4F588B-CAB0-496A-8E8E-104631100178}" type="sibTrans" cxnId="{3577EAE4-BE7B-4B34-8E4C-5CAC60EE5B96}">
      <dgm:prSet/>
      <dgm:spPr/>
      <dgm:t>
        <a:bodyPr/>
        <a:lstStyle/>
        <a:p>
          <a:endParaRPr lang="ru-RU"/>
        </a:p>
      </dgm:t>
    </dgm:pt>
    <dgm:pt modelId="{78AC6CF0-344B-4826-BA5E-3F905E374672}">
      <dgm:prSet phldrT="[Текст]"/>
      <dgm:spPr/>
      <dgm:t>
        <a:bodyPr/>
        <a:lstStyle/>
        <a:p>
          <a:r>
            <a:rPr lang="ru-RU" dirty="0" smtClean="0"/>
            <a:t>Подведение итогов</a:t>
          </a:r>
          <a:endParaRPr lang="ru-RU" dirty="0"/>
        </a:p>
      </dgm:t>
    </dgm:pt>
    <dgm:pt modelId="{B51AA9A1-9B90-4623-9860-5A50FEEE0A35}" type="parTrans" cxnId="{6328894B-8D3E-40BC-AF4A-5D90AF0F5B9C}">
      <dgm:prSet/>
      <dgm:spPr/>
      <dgm:t>
        <a:bodyPr/>
        <a:lstStyle/>
        <a:p>
          <a:endParaRPr lang="ru-RU"/>
        </a:p>
      </dgm:t>
    </dgm:pt>
    <dgm:pt modelId="{7697A257-2CC8-4038-889A-EC57159B8F99}" type="sibTrans" cxnId="{6328894B-8D3E-40BC-AF4A-5D90AF0F5B9C}">
      <dgm:prSet/>
      <dgm:spPr/>
      <dgm:t>
        <a:bodyPr/>
        <a:lstStyle/>
        <a:p>
          <a:endParaRPr lang="ru-RU"/>
        </a:p>
      </dgm:t>
    </dgm:pt>
    <dgm:pt modelId="{3C7C2EF4-E46E-4889-83DD-F138EE782346}">
      <dgm:prSet phldrT="[Текст]"/>
      <dgm:spPr/>
      <dgm:t>
        <a:bodyPr/>
        <a:lstStyle/>
        <a:p>
          <a:r>
            <a:rPr lang="ru-RU" dirty="0" smtClean="0"/>
            <a:t>Формирование договора</a:t>
          </a:r>
          <a:endParaRPr lang="ru-RU" dirty="0"/>
        </a:p>
      </dgm:t>
    </dgm:pt>
    <dgm:pt modelId="{9C4966FB-F13B-41B4-AE0B-828E1C6A7330}" type="parTrans" cxnId="{4593196C-2BFB-490C-BDEF-3E26E8A6C6B9}">
      <dgm:prSet/>
      <dgm:spPr/>
      <dgm:t>
        <a:bodyPr/>
        <a:lstStyle/>
        <a:p>
          <a:endParaRPr lang="ru-RU"/>
        </a:p>
      </dgm:t>
    </dgm:pt>
    <dgm:pt modelId="{BC050E65-E173-4CE8-8C0F-F6CAD53B2ECC}" type="sibTrans" cxnId="{4593196C-2BFB-490C-BDEF-3E26E8A6C6B9}">
      <dgm:prSet/>
      <dgm:spPr/>
      <dgm:t>
        <a:bodyPr/>
        <a:lstStyle/>
        <a:p>
          <a:endParaRPr lang="ru-RU"/>
        </a:p>
      </dgm:t>
    </dgm:pt>
    <dgm:pt modelId="{7A777EB8-2430-490B-AC5E-55A551C6F8A9}">
      <dgm:prSet phldrT="[Текст]"/>
      <dgm:spPr/>
      <dgm:t>
        <a:bodyPr/>
        <a:lstStyle/>
        <a:p>
          <a:r>
            <a:rPr lang="ru-RU" dirty="0" smtClean="0"/>
            <a:t>Внутреннее согласование договора</a:t>
          </a:r>
          <a:endParaRPr lang="ru-RU" dirty="0"/>
        </a:p>
      </dgm:t>
    </dgm:pt>
    <dgm:pt modelId="{34A8D547-ECEE-40AB-A1CA-8ADB90D1181E}" type="parTrans" cxnId="{CD95A128-A2E1-4453-ADEF-FC0456D1D043}">
      <dgm:prSet/>
      <dgm:spPr/>
      <dgm:t>
        <a:bodyPr/>
        <a:lstStyle/>
        <a:p>
          <a:endParaRPr lang="ru-RU"/>
        </a:p>
      </dgm:t>
    </dgm:pt>
    <dgm:pt modelId="{CF84E7E5-DDD6-46C2-938C-09A17A08C629}" type="sibTrans" cxnId="{CD95A128-A2E1-4453-ADEF-FC0456D1D043}">
      <dgm:prSet/>
      <dgm:spPr/>
      <dgm:t>
        <a:bodyPr/>
        <a:lstStyle/>
        <a:p>
          <a:endParaRPr lang="ru-RU"/>
        </a:p>
      </dgm:t>
    </dgm:pt>
    <dgm:pt modelId="{2D111196-6D81-4EA7-87B3-AEF4289A31CF}">
      <dgm:prSet phldrT="[Текст]"/>
      <dgm:spPr/>
      <dgm:t>
        <a:bodyPr/>
        <a:lstStyle/>
        <a:p>
          <a:r>
            <a:rPr lang="ru-RU" dirty="0" smtClean="0"/>
            <a:t>Согласование договора с поставщиками и подписание</a:t>
          </a:r>
          <a:endParaRPr lang="ru-RU" dirty="0"/>
        </a:p>
      </dgm:t>
    </dgm:pt>
    <dgm:pt modelId="{9B932BB8-1455-467C-8B50-42BC1C7947D9}" type="parTrans" cxnId="{356AB8B9-59D6-4FB1-8416-7094C69B11C6}">
      <dgm:prSet/>
      <dgm:spPr/>
      <dgm:t>
        <a:bodyPr/>
        <a:lstStyle/>
        <a:p>
          <a:endParaRPr lang="ru-RU"/>
        </a:p>
      </dgm:t>
    </dgm:pt>
    <dgm:pt modelId="{C600860E-443D-4A57-95A6-40CC25BD8F53}" type="sibTrans" cxnId="{356AB8B9-59D6-4FB1-8416-7094C69B11C6}">
      <dgm:prSet/>
      <dgm:spPr/>
      <dgm:t>
        <a:bodyPr/>
        <a:lstStyle/>
        <a:p>
          <a:endParaRPr lang="ru-RU"/>
        </a:p>
      </dgm:t>
    </dgm:pt>
    <dgm:pt modelId="{45AA8397-0531-4A75-BE4F-20141FA88768}">
      <dgm:prSet phldrT="[Текст]"/>
      <dgm:spPr/>
      <dgm:t>
        <a:bodyPr/>
        <a:lstStyle/>
        <a:p>
          <a:r>
            <a:rPr lang="ru-RU" dirty="0" smtClean="0"/>
            <a:t>Обмен финансовыми документами</a:t>
          </a:r>
          <a:endParaRPr lang="ru-RU" dirty="0"/>
        </a:p>
      </dgm:t>
    </dgm:pt>
    <dgm:pt modelId="{0C82CC6D-A7F1-4E26-83C9-50012131B6B4}" type="parTrans" cxnId="{23E9547C-19F3-4093-BE3F-B08248B33989}">
      <dgm:prSet/>
      <dgm:spPr/>
      <dgm:t>
        <a:bodyPr/>
        <a:lstStyle/>
        <a:p>
          <a:endParaRPr lang="ru-RU"/>
        </a:p>
      </dgm:t>
    </dgm:pt>
    <dgm:pt modelId="{E9C527D6-2C65-440E-BBD0-766581338367}" type="sibTrans" cxnId="{23E9547C-19F3-4093-BE3F-B08248B33989}">
      <dgm:prSet/>
      <dgm:spPr/>
      <dgm:t>
        <a:bodyPr/>
        <a:lstStyle/>
        <a:p>
          <a:endParaRPr lang="ru-RU"/>
        </a:p>
      </dgm:t>
    </dgm:pt>
    <dgm:pt modelId="{1697FF74-0517-49F0-BBB4-93BCF6CC58FF}">
      <dgm:prSet phldrT="[Текст]"/>
      <dgm:spPr/>
      <dgm:t>
        <a:bodyPr/>
        <a:lstStyle/>
        <a:p>
          <a:r>
            <a:rPr lang="ru-RU" dirty="0" smtClean="0"/>
            <a:t>Контроль исполнения договора</a:t>
          </a:r>
          <a:endParaRPr lang="ru-RU" dirty="0"/>
        </a:p>
      </dgm:t>
    </dgm:pt>
    <dgm:pt modelId="{ED9F2CAE-E760-4044-84FB-8CB00A738E1B}" type="parTrans" cxnId="{301131BF-BF97-40C3-9134-E404B6CE4FC1}">
      <dgm:prSet/>
      <dgm:spPr/>
      <dgm:t>
        <a:bodyPr/>
        <a:lstStyle/>
        <a:p>
          <a:endParaRPr lang="ru-RU"/>
        </a:p>
      </dgm:t>
    </dgm:pt>
    <dgm:pt modelId="{975A0177-9BE3-404C-99AD-2FED461C2F9C}" type="sibTrans" cxnId="{301131BF-BF97-40C3-9134-E404B6CE4FC1}">
      <dgm:prSet/>
      <dgm:spPr/>
      <dgm:t>
        <a:bodyPr/>
        <a:lstStyle/>
        <a:p>
          <a:endParaRPr lang="ru-RU"/>
        </a:p>
      </dgm:t>
    </dgm:pt>
    <dgm:pt modelId="{4F4C0FEA-FF19-451B-B164-0DAC78FF9628}">
      <dgm:prSet phldrT="[Текст]"/>
      <dgm:spPr/>
      <dgm:t>
        <a:bodyPr/>
        <a:lstStyle/>
        <a:p>
          <a:r>
            <a:rPr lang="ru-RU" dirty="0" smtClean="0"/>
            <a:t>Анализ эффективности, обратная связь процесса</a:t>
          </a:r>
          <a:endParaRPr lang="ru-RU" dirty="0"/>
        </a:p>
      </dgm:t>
    </dgm:pt>
    <dgm:pt modelId="{1FB08B3E-1481-4786-BCE3-E9C76E69DFB4}" type="parTrans" cxnId="{D157CE18-00D0-42B9-8A91-7EC22D952EE6}">
      <dgm:prSet/>
      <dgm:spPr/>
      <dgm:t>
        <a:bodyPr/>
        <a:lstStyle/>
        <a:p>
          <a:endParaRPr lang="ru-RU"/>
        </a:p>
      </dgm:t>
    </dgm:pt>
    <dgm:pt modelId="{1FD0FDB5-34FC-4EAE-8681-4267C90CC5B7}" type="sibTrans" cxnId="{D157CE18-00D0-42B9-8A91-7EC22D952EE6}">
      <dgm:prSet/>
      <dgm:spPr/>
      <dgm:t>
        <a:bodyPr/>
        <a:lstStyle/>
        <a:p>
          <a:endParaRPr lang="ru-RU"/>
        </a:p>
      </dgm:t>
    </dgm:pt>
    <dgm:pt modelId="{3DC75831-9763-484B-BD3F-EF3588F2FA17}" type="pres">
      <dgm:prSet presAssocID="{D2A70C7C-1200-4284-9574-1D840D96D8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0687E2-97E8-40CA-9701-B4CB729ECB8F}" type="pres">
      <dgm:prSet presAssocID="{63787730-6A12-4DA7-9E1D-A478104B3D05}" presName="node" presStyleLbl="node1" presStyleIdx="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A0E4ED-115C-4FA6-8011-BC2149DB5690}" type="pres">
      <dgm:prSet presAssocID="{55FA1D25-71EB-41EC-8420-936000086EEC}" presName="sibTrans" presStyleLbl="sibTrans2D1" presStyleIdx="0" presStyleCnt="11"/>
      <dgm:spPr/>
      <dgm:t>
        <a:bodyPr/>
        <a:lstStyle/>
        <a:p>
          <a:endParaRPr lang="ru-RU"/>
        </a:p>
      </dgm:t>
    </dgm:pt>
    <dgm:pt modelId="{CB3A18AC-7EC4-465F-8FD5-F3272724F49A}" type="pres">
      <dgm:prSet presAssocID="{55FA1D25-71EB-41EC-8420-936000086EEC}" presName="connectorText" presStyleLbl="sibTrans2D1" presStyleIdx="0" presStyleCnt="11"/>
      <dgm:spPr/>
      <dgm:t>
        <a:bodyPr/>
        <a:lstStyle/>
        <a:p>
          <a:endParaRPr lang="ru-RU"/>
        </a:p>
      </dgm:t>
    </dgm:pt>
    <dgm:pt modelId="{8C776AA3-B65D-4075-BC22-4D15515F50E4}" type="pres">
      <dgm:prSet presAssocID="{2FFA74A3-C6F1-4658-AA58-DAB2C407C817}" presName="node" presStyleLbl="node1" presStyleIdx="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B17F74-E50E-49E7-BE75-7CB7C90F2283}" type="pres">
      <dgm:prSet presAssocID="{DD6AF92D-F279-41F2-BEA6-67A271514ABE}" presName="sibTrans" presStyleLbl="sibTrans2D1" presStyleIdx="1" presStyleCnt="11"/>
      <dgm:spPr/>
      <dgm:t>
        <a:bodyPr/>
        <a:lstStyle/>
        <a:p>
          <a:endParaRPr lang="ru-RU"/>
        </a:p>
      </dgm:t>
    </dgm:pt>
    <dgm:pt modelId="{E7EC7913-8C43-4A55-80ED-E4C55FDD254A}" type="pres">
      <dgm:prSet presAssocID="{DD6AF92D-F279-41F2-BEA6-67A271514ABE}" presName="connectorText" presStyleLbl="sibTrans2D1" presStyleIdx="1" presStyleCnt="11"/>
      <dgm:spPr/>
      <dgm:t>
        <a:bodyPr/>
        <a:lstStyle/>
        <a:p>
          <a:endParaRPr lang="ru-RU"/>
        </a:p>
      </dgm:t>
    </dgm:pt>
    <dgm:pt modelId="{234B9E23-103E-4494-9FFA-BF4D15968A30}" type="pres">
      <dgm:prSet presAssocID="{DD45326F-4475-4128-9A9F-A5E603CFC0D8}" presName="node" presStyleLbl="node1" presStyleIdx="2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862696-A2ED-460C-885A-E92A6BCDE8C6}" type="pres">
      <dgm:prSet presAssocID="{49F793AB-A2D2-40FC-9C2E-0F1464E2EA5A}" presName="sibTrans" presStyleLbl="sibTrans2D1" presStyleIdx="2" presStyleCnt="11"/>
      <dgm:spPr/>
      <dgm:t>
        <a:bodyPr/>
        <a:lstStyle/>
        <a:p>
          <a:endParaRPr lang="ru-RU"/>
        </a:p>
      </dgm:t>
    </dgm:pt>
    <dgm:pt modelId="{C798FFF0-5071-4229-B486-BF3868C93DB9}" type="pres">
      <dgm:prSet presAssocID="{49F793AB-A2D2-40FC-9C2E-0F1464E2EA5A}" presName="connectorText" presStyleLbl="sibTrans2D1" presStyleIdx="2" presStyleCnt="11"/>
      <dgm:spPr/>
      <dgm:t>
        <a:bodyPr/>
        <a:lstStyle/>
        <a:p>
          <a:endParaRPr lang="ru-RU"/>
        </a:p>
      </dgm:t>
    </dgm:pt>
    <dgm:pt modelId="{55322AD6-E72E-4099-88CF-58923D0A440C}" type="pres">
      <dgm:prSet presAssocID="{CBA4FD5F-2296-4072-987E-BD86707C0361}" presName="node" presStyleLbl="node1" presStyleIdx="3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DDB2F6-27D7-477E-BD0E-B9EF332CB9C3}" type="pres">
      <dgm:prSet presAssocID="{5B202B59-7524-43DF-871D-1FB28A058286}" presName="sibTrans" presStyleLbl="sibTrans2D1" presStyleIdx="3" presStyleCnt="11"/>
      <dgm:spPr/>
      <dgm:t>
        <a:bodyPr/>
        <a:lstStyle/>
        <a:p>
          <a:endParaRPr lang="ru-RU"/>
        </a:p>
      </dgm:t>
    </dgm:pt>
    <dgm:pt modelId="{4A855555-1E21-4001-9B7B-E0F68C88AC43}" type="pres">
      <dgm:prSet presAssocID="{5B202B59-7524-43DF-871D-1FB28A058286}" presName="connectorText" presStyleLbl="sibTrans2D1" presStyleIdx="3" presStyleCnt="11"/>
      <dgm:spPr/>
      <dgm:t>
        <a:bodyPr/>
        <a:lstStyle/>
        <a:p>
          <a:endParaRPr lang="ru-RU"/>
        </a:p>
      </dgm:t>
    </dgm:pt>
    <dgm:pt modelId="{64B5AF91-8719-4185-AD28-371A06A549C1}" type="pres">
      <dgm:prSet presAssocID="{C9B2E4D7-9EDA-4C0C-B364-D14B9599DD3B}" presName="node" presStyleLbl="node1" presStyleIdx="4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B50776-251C-44B4-AAA3-0F22BF3F50F2}" type="pres">
      <dgm:prSet presAssocID="{6C4F588B-CAB0-496A-8E8E-104631100178}" presName="sibTrans" presStyleLbl="sibTrans2D1" presStyleIdx="4" presStyleCnt="11"/>
      <dgm:spPr/>
      <dgm:t>
        <a:bodyPr/>
        <a:lstStyle/>
        <a:p>
          <a:endParaRPr lang="ru-RU"/>
        </a:p>
      </dgm:t>
    </dgm:pt>
    <dgm:pt modelId="{336FA401-CBD3-4296-AB5A-2A6E7D5B81A7}" type="pres">
      <dgm:prSet presAssocID="{6C4F588B-CAB0-496A-8E8E-104631100178}" presName="connectorText" presStyleLbl="sibTrans2D1" presStyleIdx="4" presStyleCnt="11"/>
      <dgm:spPr/>
      <dgm:t>
        <a:bodyPr/>
        <a:lstStyle/>
        <a:p>
          <a:endParaRPr lang="ru-RU"/>
        </a:p>
      </dgm:t>
    </dgm:pt>
    <dgm:pt modelId="{54C2D2CF-3FE8-41BD-B1E4-5CEE7948B504}" type="pres">
      <dgm:prSet presAssocID="{78AC6CF0-344B-4826-BA5E-3F905E374672}" presName="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AB8BEA-0CB6-41EE-8B28-FF9D5CC082E1}" type="pres">
      <dgm:prSet presAssocID="{7697A257-2CC8-4038-889A-EC57159B8F99}" presName="sibTrans" presStyleLbl="sibTrans2D1" presStyleIdx="5" presStyleCnt="11"/>
      <dgm:spPr/>
      <dgm:t>
        <a:bodyPr/>
        <a:lstStyle/>
        <a:p>
          <a:endParaRPr lang="ru-RU"/>
        </a:p>
      </dgm:t>
    </dgm:pt>
    <dgm:pt modelId="{69B515A4-A19E-4025-AAA7-D639A8C23F47}" type="pres">
      <dgm:prSet presAssocID="{7697A257-2CC8-4038-889A-EC57159B8F99}" presName="connectorText" presStyleLbl="sibTrans2D1" presStyleIdx="5" presStyleCnt="11"/>
      <dgm:spPr/>
      <dgm:t>
        <a:bodyPr/>
        <a:lstStyle/>
        <a:p>
          <a:endParaRPr lang="ru-RU"/>
        </a:p>
      </dgm:t>
    </dgm:pt>
    <dgm:pt modelId="{84DE3A44-3755-45B9-A34F-9D2260C8B74D}" type="pres">
      <dgm:prSet presAssocID="{3C7C2EF4-E46E-4889-83DD-F138EE782346}" presName="node" presStyleLbl="node1" presStyleIdx="6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8A1093-00C5-449D-8878-00AB3C0EDF98}" type="pres">
      <dgm:prSet presAssocID="{BC050E65-E173-4CE8-8C0F-F6CAD53B2ECC}" presName="sibTrans" presStyleLbl="sibTrans2D1" presStyleIdx="6" presStyleCnt="11"/>
      <dgm:spPr/>
      <dgm:t>
        <a:bodyPr/>
        <a:lstStyle/>
        <a:p>
          <a:endParaRPr lang="ru-RU"/>
        </a:p>
      </dgm:t>
    </dgm:pt>
    <dgm:pt modelId="{2FF02FDF-2906-4FD2-B6B1-687E87D77080}" type="pres">
      <dgm:prSet presAssocID="{BC050E65-E173-4CE8-8C0F-F6CAD53B2ECC}" presName="connectorText" presStyleLbl="sibTrans2D1" presStyleIdx="6" presStyleCnt="11"/>
      <dgm:spPr/>
      <dgm:t>
        <a:bodyPr/>
        <a:lstStyle/>
        <a:p>
          <a:endParaRPr lang="ru-RU"/>
        </a:p>
      </dgm:t>
    </dgm:pt>
    <dgm:pt modelId="{12AF003C-AB23-47B5-8287-DE1ED991E766}" type="pres">
      <dgm:prSet presAssocID="{7A777EB8-2430-490B-AC5E-55A551C6F8A9}" presName="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CB1F0-6504-4184-B624-5E32FDB5B87A}" type="pres">
      <dgm:prSet presAssocID="{CF84E7E5-DDD6-46C2-938C-09A17A08C629}" presName="sibTrans" presStyleLbl="sibTrans2D1" presStyleIdx="7" presStyleCnt="11"/>
      <dgm:spPr/>
      <dgm:t>
        <a:bodyPr/>
        <a:lstStyle/>
        <a:p>
          <a:endParaRPr lang="ru-RU"/>
        </a:p>
      </dgm:t>
    </dgm:pt>
    <dgm:pt modelId="{2A680C68-DB24-4DBD-9480-344A2789D7E5}" type="pres">
      <dgm:prSet presAssocID="{CF84E7E5-DDD6-46C2-938C-09A17A08C629}" presName="connectorText" presStyleLbl="sibTrans2D1" presStyleIdx="7" presStyleCnt="11"/>
      <dgm:spPr/>
      <dgm:t>
        <a:bodyPr/>
        <a:lstStyle/>
        <a:p>
          <a:endParaRPr lang="ru-RU"/>
        </a:p>
      </dgm:t>
    </dgm:pt>
    <dgm:pt modelId="{B18298A3-8CF9-4538-A62C-DD21D1BDD788}" type="pres">
      <dgm:prSet presAssocID="{2D111196-6D81-4EA7-87B3-AEF4289A31CF}" presName="node" presStyleLbl="node1" presStyleIdx="8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38C97D-1D39-40DE-814A-B9855ACD488B}" type="pres">
      <dgm:prSet presAssocID="{C600860E-443D-4A57-95A6-40CC25BD8F53}" presName="sibTrans" presStyleLbl="sibTrans2D1" presStyleIdx="8" presStyleCnt="11"/>
      <dgm:spPr/>
      <dgm:t>
        <a:bodyPr/>
        <a:lstStyle/>
        <a:p>
          <a:endParaRPr lang="ru-RU"/>
        </a:p>
      </dgm:t>
    </dgm:pt>
    <dgm:pt modelId="{C19DEBA9-27A3-4C93-B5F3-D7CDD1FD20D8}" type="pres">
      <dgm:prSet presAssocID="{C600860E-443D-4A57-95A6-40CC25BD8F53}" presName="connectorText" presStyleLbl="sibTrans2D1" presStyleIdx="8" presStyleCnt="11"/>
      <dgm:spPr/>
      <dgm:t>
        <a:bodyPr/>
        <a:lstStyle/>
        <a:p>
          <a:endParaRPr lang="ru-RU"/>
        </a:p>
      </dgm:t>
    </dgm:pt>
    <dgm:pt modelId="{AF1982A6-2818-41EB-BD91-8B71D6831884}" type="pres">
      <dgm:prSet presAssocID="{45AA8397-0531-4A75-BE4F-20141FA88768}" presName="node" presStyleLbl="node1" presStyleIdx="9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18065-017F-4502-8FB7-660849B38EE9}" type="pres">
      <dgm:prSet presAssocID="{E9C527D6-2C65-440E-BBD0-766581338367}" presName="sibTrans" presStyleLbl="sibTrans2D1" presStyleIdx="9" presStyleCnt="11"/>
      <dgm:spPr/>
      <dgm:t>
        <a:bodyPr/>
        <a:lstStyle/>
        <a:p>
          <a:endParaRPr lang="ru-RU"/>
        </a:p>
      </dgm:t>
    </dgm:pt>
    <dgm:pt modelId="{55936D10-7FB0-470A-8666-64CB8A66D0D2}" type="pres">
      <dgm:prSet presAssocID="{E9C527D6-2C65-440E-BBD0-766581338367}" presName="connectorText" presStyleLbl="sibTrans2D1" presStyleIdx="9" presStyleCnt="11"/>
      <dgm:spPr/>
      <dgm:t>
        <a:bodyPr/>
        <a:lstStyle/>
        <a:p>
          <a:endParaRPr lang="ru-RU"/>
        </a:p>
      </dgm:t>
    </dgm:pt>
    <dgm:pt modelId="{98F8AA3A-9B1C-4E12-9520-E93AE8B2E357}" type="pres">
      <dgm:prSet presAssocID="{1697FF74-0517-49F0-BBB4-93BCF6CC58FF}" presName="node" presStyleLbl="node1" presStyleIdx="1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EF37D3-A7B5-4FAC-AAEF-1E588711416B}" type="pres">
      <dgm:prSet presAssocID="{975A0177-9BE3-404C-99AD-2FED461C2F9C}" presName="sibTrans" presStyleLbl="sibTrans2D1" presStyleIdx="10" presStyleCnt="11"/>
      <dgm:spPr/>
      <dgm:t>
        <a:bodyPr/>
        <a:lstStyle/>
        <a:p>
          <a:endParaRPr lang="ru-RU"/>
        </a:p>
      </dgm:t>
    </dgm:pt>
    <dgm:pt modelId="{6552780F-013A-4E25-AF10-E288961A914C}" type="pres">
      <dgm:prSet presAssocID="{975A0177-9BE3-404C-99AD-2FED461C2F9C}" presName="connectorText" presStyleLbl="sibTrans2D1" presStyleIdx="10" presStyleCnt="11"/>
      <dgm:spPr/>
      <dgm:t>
        <a:bodyPr/>
        <a:lstStyle/>
        <a:p>
          <a:endParaRPr lang="ru-RU"/>
        </a:p>
      </dgm:t>
    </dgm:pt>
    <dgm:pt modelId="{8BBEEEC3-C819-4773-8A9B-2613B4438E3C}" type="pres">
      <dgm:prSet presAssocID="{4F4C0FEA-FF19-451B-B164-0DAC78FF9628}" presName="node" presStyleLbl="node1" presStyleIdx="1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47BA2BB-16E4-4B4D-B764-6220D8A2AE6C}" type="presOf" srcId="{BC050E65-E173-4CE8-8C0F-F6CAD53B2ECC}" destId="{2FF02FDF-2906-4FD2-B6B1-687E87D77080}" srcOrd="1" destOrd="0" presId="urn:microsoft.com/office/officeart/2005/8/layout/process5"/>
    <dgm:cxn modelId="{E7580433-D23B-4857-AE74-184D9ADC7B69}" srcId="{D2A70C7C-1200-4284-9574-1D840D96D88D}" destId="{2FFA74A3-C6F1-4658-AA58-DAB2C407C817}" srcOrd="1" destOrd="0" parTransId="{303E6D67-CBA7-400A-971D-8D4BBABF11AE}" sibTransId="{DD6AF92D-F279-41F2-BEA6-67A271514ABE}"/>
    <dgm:cxn modelId="{4593196C-2BFB-490C-BDEF-3E26E8A6C6B9}" srcId="{D2A70C7C-1200-4284-9574-1D840D96D88D}" destId="{3C7C2EF4-E46E-4889-83DD-F138EE782346}" srcOrd="6" destOrd="0" parTransId="{9C4966FB-F13B-41B4-AE0B-828E1C6A7330}" sibTransId="{BC050E65-E173-4CE8-8C0F-F6CAD53B2ECC}"/>
    <dgm:cxn modelId="{301131BF-BF97-40C3-9134-E404B6CE4FC1}" srcId="{D2A70C7C-1200-4284-9574-1D840D96D88D}" destId="{1697FF74-0517-49F0-BBB4-93BCF6CC58FF}" srcOrd="10" destOrd="0" parTransId="{ED9F2CAE-E760-4044-84FB-8CB00A738E1B}" sibTransId="{975A0177-9BE3-404C-99AD-2FED461C2F9C}"/>
    <dgm:cxn modelId="{CD95A128-A2E1-4453-ADEF-FC0456D1D043}" srcId="{D2A70C7C-1200-4284-9574-1D840D96D88D}" destId="{7A777EB8-2430-490B-AC5E-55A551C6F8A9}" srcOrd="7" destOrd="0" parTransId="{34A8D547-ECEE-40AB-A1CA-8ADB90D1181E}" sibTransId="{CF84E7E5-DDD6-46C2-938C-09A17A08C629}"/>
    <dgm:cxn modelId="{5D28C889-FD0B-461A-B1CD-2914F4BAB4DA}" type="presOf" srcId="{1697FF74-0517-49F0-BBB4-93BCF6CC58FF}" destId="{98F8AA3A-9B1C-4E12-9520-E93AE8B2E357}" srcOrd="0" destOrd="0" presId="urn:microsoft.com/office/officeart/2005/8/layout/process5"/>
    <dgm:cxn modelId="{B293727E-9777-4B4F-BB79-D04682763117}" type="presOf" srcId="{5B202B59-7524-43DF-871D-1FB28A058286}" destId="{D6DDB2F6-27D7-477E-BD0E-B9EF332CB9C3}" srcOrd="0" destOrd="0" presId="urn:microsoft.com/office/officeart/2005/8/layout/process5"/>
    <dgm:cxn modelId="{96E05DC0-F2EA-4348-8199-7161EE874340}" type="presOf" srcId="{BC050E65-E173-4CE8-8C0F-F6CAD53B2ECC}" destId="{C58A1093-00C5-449D-8878-00AB3C0EDF98}" srcOrd="0" destOrd="0" presId="urn:microsoft.com/office/officeart/2005/8/layout/process5"/>
    <dgm:cxn modelId="{3AF17ED2-B283-4EFB-8233-31871EE1E155}" type="presOf" srcId="{975A0177-9BE3-404C-99AD-2FED461C2F9C}" destId="{6552780F-013A-4E25-AF10-E288961A914C}" srcOrd="1" destOrd="0" presId="urn:microsoft.com/office/officeart/2005/8/layout/process5"/>
    <dgm:cxn modelId="{1537677B-37E5-4C84-B126-1A5FBF959AC9}" type="presOf" srcId="{E9C527D6-2C65-440E-BBD0-766581338367}" destId="{55936D10-7FB0-470A-8666-64CB8A66D0D2}" srcOrd="1" destOrd="0" presId="urn:microsoft.com/office/officeart/2005/8/layout/process5"/>
    <dgm:cxn modelId="{20E09859-47EA-4D5D-92DD-9CFF8E756C33}" type="presOf" srcId="{4F4C0FEA-FF19-451B-B164-0DAC78FF9628}" destId="{8BBEEEC3-C819-4773-8A9B-2613B4438E3C}" srcOrd="0" destOrd="0" presId="urn:microsoft.com/office/officeart/2005/8/layout/process5"/>
    <dgm:cxn modelId="{96E94769-46D6-417A-A864-96578322D15F}" type="presOf" srcId="{CF84E7E5-DDD6-46C2-938C-09A17A08C629}" destId="{2A680C68-DB24-4DBD-9480-344A2789D7E5}" srcOrd="1" destOrd="0" presId="urn:microsoft.com/office/officeart/2005/8/layout/process5"/>
    <dgm:cxn modelId="{D7922B9B-C4F1-483A-8941-0C7F39CE6BD0}" type="presOf" srcId="{7A777EB8-2430-490B-AC5E-55A551C6F8A9}" destId="{12AF003C-AB23-47B5-8287-DE1ED991E766}" srcOrd="0" destOrd="0" presId="urn:microsoft.com/office/officeart/2005/8/layout/process5"/>
    <dgm:cxn modelId="{4A063508-A807-4257-ADF5-96ABBAB1EBDC}" type="presOf" srcId="{2FFA74A3-C6F1-4658-AA58-DAB2C407C817}" destId="{8C776AA3-B65D-4075-BC22-4D15515F50E4}" srcOrd="0" destOrd="0" presId="urn:microsoft.com/office/officeart/2005/8/layout/process5"/>
    <dgm:cxn modelId="{97489D41-E3F8-4351-9F41-DBB62B0C4947}" type="presOf" srcId="{CF84E7E5-DDD6-46C2-938C-09A17A08C629}" destId="{D94CB1F0-6504-4184-B624-5E32FDB5B87A}" srcOrd="0" destOrd="0" presId="urn:microsoft.com/office/officeart/2005/8/layout/process5"/>
    <dgm:cxn modelId="{7FD1A8E4-F620-4C43-BA2F-84E29FA27FBD}" type="presOf" srcId="{6C4F588B-CAB0-496A-8E8E-104631100178}" destId="{336FA401-CBD3-4296-AB5A-2A6E7D5B81A7}" srcOrd="1" destOrd="0" presId="urn:microsoft.com/office/officeart/2005/8/layout/process5"/>
    <dgm:cxn modelId="{6B7D24D7-4D7C-4456-B268-19C091D82019}" type="presOf" srcId="{2D111196-6D81-4EA7-87B3-AEF4289A31CF}" destId="{B18298A3-8CF9-4538-A62C-DD21D1BDD788}" srcOrd="0" destOrd="0" presId="urn:microsoft.com/office/officeart/2005/8/layout/process5"/>
    <dgm:cxn modelId="{D708AFB1-2E4D-48FE-AAE2-823CBB6BAD81}" type="presOf" srcId="{D2A70C7C-1200-4284-9574-1D840D96D88D}" destId="{3DC75831-9763-484B-BD3F-EF3588F2FA17}" srcOrd="0" destOrd="0" presId="urn:microsoft.com/office/officeart/2005/8/layout/process5"/>
    <dgm:cxn modelId="{2F8B42C5-F694-4E06-ADED-F0377CFDDAE2}" type="presOf" srcId="{49F793AB-A2D2-40FC-9C2E-0F1464E2EA5A}" destId="{26862696-A2ED-460C-885A-E92A6BCDE8C6}" srcOrd="0" destOrd="0" presId="urn:microsoft.com/office/officeart/2005/8/layout/process5"/>
    <dgm:cxn modelId="{F5CD14B0-BF9B-442E-B096-B57942609246}" type="presOf" srcId="{C600860E-443D-4A57-95A6-40CC25BD8F53}" destId="{C19DEBA9-27A3-4C93-B5F3-D7CDD1FD20D8}" srcOrd="1" destOrd="0" presId="urn:microsoft.com/office/officeart/2005/8/layout/process5"/>
    <dgm:cxn modelId="{C697FA4D-59D7-424A-B818-27C351820E2B}" type="presOf" srcId="{6C4F588B-CAB0-496A-8E8E-104631100178}" destId="{E2B50776-251C-44B4-AAA3-0F22BF3F50F2}" srcOrd="0" destOrd="0" presId="urn:microsoft.com/office/officeart/2005/8/layout/process5"/>
    <dgm:cxn modelId="{356AB8B9-59D6-4FB1-8416-7094C69B11C6}" srcId="{D2A70C7C-1200-4284-9574-1D840D96D88D}" destId="{2D111196-6D81-4EA7-87B3-AEF4289A31CF}" srcOrd="8" destOrd="0" parTransId="{9B932BB8-1455-467C-8B50-42BC1C7947D9}" sibTransId="{C600860E-443D-4A57-95A6-40CC25BD8F53}"/>
    <dgm:cxn modelId="{6328894B-8D3E-40BC-AF4A-5D90AF0F5B9C}" srcId="{D2A70C7C-1200-4284-9574-1D840D96D88D}" destId="{78AC6CF0-344B-4826-BA5E-3F905E374672}" srcOrd="5" destOrd="0" parTransId="{B51AA9A1-9B90-4623-9860-5A50FEEE0A35}" sibTransId="{7697A257-2CC8-4038-889A-EC57159B8F99}"/>
    <dgm:cxn modelId="{647FB1F7-3285-494A-80BC-0B6A2EC162C3}" type="presOf" srcId="{7697A257-2CC8-4038-889A-EC57159B8F99}" destId="{69B515A4-A19E-4025-AAA7-D639A8C23F47}" srcOrd="1" destOrd="0" presId="urn:microsoft.com/office/officeart/2005/8/layout/process5"/>
    <dgm:cxn modelId="{6366B5F9-36E1-415D-B7A1-C29795193BDF}" type="presOf" srcId="{C9B2E4D7-9EDA-4C0C-B364-D14B9599DD3B}" destId="{64B5AF91-8719-4185-AD28-371A06A549C1}" srcOrd="0" destOrd="0" presId="urn:microsoft.com/office/officeart/2005/8/layout/process5"/>
    <dgm:cxn modelId="{66D6ADA9-3192-4C93-9090-856ED117D8FF}" srcId="{D2A70C7C-1200-4284-9574-1D840D96D88D}" destId="{DD45326F-4475-4128-9A9F-A5E603CFC0D8}" srcOrd="2" destOrd="0" parTransId="{B977B93D-1BF3-4C6A-8A43-097067CE1689}" sibTransId="{49F793AB-A2D2-40FC-9C2E-0F1464E2EA5A}"/>
    <dgm:cxn modelId="{50DC5400-5592-405E-B511-619AECE0749B}" type="presOf" srcId="{975A0177-9BE3-404C-99AD-2FED461C2F9C}" destId="{AAEF37D3-A7B5-4FAC-AAEF-1E588711416B}" srcOrd="0" destOrd="0" presId="urn:microsoft.com/office/officeart/2005/8/layout/process5"/>
    <dgm:cxn modelId="{A86CA816-8944-4588-BBA6-FB1CE1A19384}" type="presOf" srcId="{55FA1D25-71EB-41EC-8420-936000086EEC}" destId="{CB3A18AC-7EC4-465F-8FD5-F3272724F49A}" srcOrd="1" destOrd="0" presId="urn:microsoft.com/office/officeart/2005/8/layout/process5"/>
    <dgm:cxn modelId="{C8575EF0-EBE8-4C76-9366-5821427FF9E9}" type="presOf" srcId="{49F793AB-A2D2-40FC-9C2E-0F1464E2EA5A}" destId="{C798FFF0-5071-4229-B486-BF3868C93DB9}" srcOrd="1" destOrd="0" presId="urn:microsoft.com/office/officeart/2005/8/layout/process5"/>
    <dgm:cxn modelId="{53DD4F45-E9E4-4810-B148-19145CF02FBA}" type="presOf" srcId="{E9C527D6-2C65-440E-BBD0-766581338367}" destId="{88818065-017F-4502-8FB7-660849B38EE9}" srcOrd="0" destOrd="0" presId="urn:microsoft.com/office/officeart/2005/8/layout/process5"/>
    <dgm:cxn modelId="{3577EAE4-BE7B-4B34-8E4C-5CAC60EE5B96}" srcId="{D2A70C7C-1200-4284-9574-1D840D96D88D}" destId="{C9B2E4D7-9EDA-4C0C-B364-D14B9599DD3B}" srcOrd="4" destOrd="0" parTransId="{34A616A2-B5BA-4CC3-A160-3DC0033F559D}" sibTransId="{6C4F588B-CAB0-496A-8E8E-104631100178}"/>
    <dgm:cxn modelId="{9F172296-107C-4AB8-BD50-C17AAB63F4AB}" type="presOf" srcId="{DD6AF92D-F279-41F2-BEA6-67A271514ABE}" destId="{60B17F74-E50E-49E7-BE75-7CB7C90F2283}" srcOrd="0" destOrd="0" presId="urn:microsoft.com/office/officeart/2005/8/layout/process5"/>
    <dgm:cxn modelId="{7CE882ED-55AA-44A4-88F2-00469DC82776}" type="presOf" srcId="{5B202B59-7524-43DF-871D-1FB28A058286}" destId="{4A855555-1E21-4001-9B7B-E0F68C88AC43}" srcOrd="1" destOrd="0" presId="urn:microsoft.com/office/officeart/2005/8/layout/process5"/>
    <dgm:cxn modelId="{6E155949-0C90-47DF-9160-2480556827A9}" type="presOf" srcId="{7697A257-2CC8-4038-889A-EC57159B8F99}" destId="{B4AB8BEA-0CB6-41EE-8B28-FF9D5CC082E1}" srcOrd="0" destOrd="0" presId="urn:microsoft.com/office/officeart/2005/8/layout/process5"/>
    <dgm:cxn modelId="{F4AAF55B-92CF-40F4-B51C-399B3CFA453A}" type="presOf" srcId="{78AC6CF0-344B-4826-BA5E-3F905E374672}" destId="{54C2D2CF-3FE8-41BD-B1E4-5CEE7948B504}" srcOrd="0" destOrd="0" presId="urn:microsoft.com/office/officeart/2005/8/layout/process5"/>
    <dgm:cxn modelId="{19F06F22-0D80-419B-976B-A7B2B7C47640}" type="presOf" srcId="{CBA4FD5F-2296-4072-987E-BD86707C0361}" destId="{55322AD6-E72E-4099-88CF-58923D0A440C}" srcOrd="0" destOrd="0" presId="urn:microsoft.com/office/officeart/2005/8/layout/process5"/>
    <dgm:cxn modelId="{6FCC8AF8-552F-4868-AC29-5324706024B9}" type="presOf" srcId="{DD45326F-4475-4128-9A9F-A5E603CFC0D8}" destId="{234B9E23-103E-4494-9FFA-BF4D15968A30}" srcOrd="0" destOrd="0" presId="urn:microsoft.com/office/officeart/2005/8/layout/process5"/>
    <dgm:cxn modelId="{4217F4D7-763F-4883-8E7A-997361E95C28}" srcId="{D2A70C7C-1200-4284-9574-1D840D96D88D}" destId="{CBA4FD5F-2296-4072-987E-BD86707C0361}" srcOrd="3" destOrd="0" parTransId="{825FCB06-6B4F-45C1-9212-CA0E4497884B}" sibTransId="{5B202B59-7524-43DF-871D-1FB28A058286}"/>
    <dgm:cxn modelId="{20024063-4BF2-4956-943A-2255BA8D25EB}" type="presOf" srcId="{55FA1D25-71EB-41EC-8420-936000086EEC}" destId="{84A0E4ED-115C-4FA6-8011-BC2149DB5690}" srcOrd="0" destOrd="0" presId="urn:microsoft.com/office/officeart/2005/8/layout/process5"/>
    <dgm:cxn modelId="{0AB12CE4-DB32-45F1-A386-0F949489CB8A}" type="presOf" srcId="{45AA8397-0531-4A75-BE4F-20141FA88768}" destId="{AF1982A6-2818-41EB-BD91-8B71D6831884}" srcOrd="0" destOrd="0" presId="urn:microsoft.com/office/officeart/2005/8/layout/process5"/>
    <dgm:cxn modelId="{8595E5B1-A15B-4312-AFA9-3FFC07C97D01}" type="presOf" srcId="{C600860E-443D-4A57-95A6-40CC25BD8F53}" destId="{9E38C97D-1D39-40DE-814A-B9855ACD488B}" srcOrd="0" destOrd="0" presId="urn:microsoft.com/office/officeart/2005/8/layout/process5"/>
    <dgm:cxn modelId="{096C74A2-7E6D-4B4E-A2A3-1C755ED3828B}" type="presOf" srcId="{3C7C2EF4-E46E-4889-83DD-F138EE782346}" destId="{84DE3A44-3755-45B9-A34F-9D2260C8B74D}" srcOrd="0" destOrd="0" presId="urn:microsoft.com/office/officeart/2005/8/layout/process5"/>
    <dgm:cxn modelId="{D157CE18-00D0-42B9-8A91-7EC22D952EE6}" srcId="{D2A70C7C-1200-4284-9574-1D840D96D88D}" destId="{4F4C0FEA-FF19-451B-B164-0DAC78FF9628}" srcOrd="11" destOrd="0" parTransId="{1FB08B3E-1481-4786-BCE3-E9C76E69DFB4}" sibTransId="{1FD0FDB5-34FC-4EAE-8681-4267C90CC5B7}"/>
    <dgm:cxn modelId="{2342FC36-0A19-4454-9B60-3B8DEC868953}" srcId="{D2A70C7C-1200-4284-9574-1D840D96D88D}" destId="{63787730-6A12-4DA7-9E1D-A478104B3D05}" srcOrd="0" destOrd="0" parTransId="{526744E0-CB04-4790-80FD-346468065FAB}" sibTransId="{55FA1D25-71EB-41EC-8420-936000086EEC}"/>
    <dgm:cxn modelId="{146E3107-4955-404D-BF08-6E3009A83446}" type="presOf" srcId="{DD6AF92D-F279-41F2-BEA6-67A271514ABE}" destId="{E7EC7913-8C43-4A55-80ED-E4C55FDD254A}" srcOrd="1" destOrd="0" presId="urn:microsoft.com/office/officeart/2005/8/layout/process5"/>
    <dgm:cxn modelId="{C266E325-D2B6-4543-A3FF-D0C76D0974DC}" type="presOf" srcId="{63787730-6A12-4DA7-9E1D-A478104B3D05}" destId="{9E0687E2-97E8-40CA-9701-B4CB729ECB8F}" srcOrd="0" destOrd="0" presId="urn:microsoft.com/office/officeart/2005/8/layout/process5"/>
    <dgm:cxn modelId="{23E9547C-19F3-4093-BE3F-B08248B33989}" srcId="{D2A70C7C-1200-4284-9574-1D840D96D88D}" destId="{45AA8397-0531-4A75-BE4F-20141FA88768}" srcOrd="9" destOrd="0" parTransId="{0C82CC6D-A7F1-4E26-83C9-50012131B6B4}" sibTransId="{E9C527D6-2C65-440E-BBD0-766581338367}"/>
    <dgm:cxn modelId="{CB665E11-FE62-4268-85D1-D249F736A0F7}" type="presParOf" srcId="{3DC75831-9763-484B-BD3F-EF3588F2FA17}" destId="{9E0687E2-97E8-40CA-9701-B4CB729ECB8F}" srcOrd="0" destOrd="0" presId="urn:microsoft.com/office/officeart/2005/8/layout/process5"/>
    <dgm:cxn modelId="{B10FB8DC-1105-48CE-AAAF-4F2C6B842F07}" type="presParOf" srcId="{3DC75831-9763-484B-BD3F-EF3588F2FA17}" destId="{84A0E4ED-115C-4FA6-8011-BC2149DB5690}" srcOrd="1" destOrd="0" presId="urn:microsoft.com/office/officeart/2005/8/layout/process5"/>
    <dgm:cxn modelId="{5C9FA203-DD5D-4AB8-BE56-64117DCCA638}" type="presParOf" srcId="{84A0E4ED-115C-4FA6-8011-BC2149DB5690}" destId="{CB3A18AC-7EC4-465F-8FD5-F3272724F49A}" srcOrd="0" destOrd="0" presId="urn:microsoft.com/office/officeart/2005/8/layout/process5"/>
    <dgm:cxn modelId="{AC3EEE60-7396-452E-A33A-C8AE36B4566B}" type="presParOf" srcId="{3DC75831-9763-484B-BD3F-EF3588F2FA17}" destId="{8C776AA3-B65D-4075-BC22-4D15515F50E4}" srcOrd="2" destOrd="0" presId="urn:microsoft.com/office/officeart/2005/8/layout/process5"/>
    <dgm:cxn modelId="{7F0046FD-7CAC-460B-B7C5-76C46F148002}" type="presParOf" srcId="{3DC75831-9763-484B-BD3F-EF3588F2FA17}" destId="{60B17F74-E50E-49E7-BE75-7CB7C90F2283}" srcOrd="3" destOrd="0" presId="urn:microsoft.com/office/officeart/2005/8/layout/process5"/>
    <dgm:cxn modelId="{FD44B955-8EB6-4972-9D45-9FB41BF887FD}" type="presParOf" srcId="{60B17F74-E50E-49E7-BE75-7CB7C90F2283}" destId="{E7EC7913-8C43-4A55-80ED-E4C55FDD254A}" srcOrd="0" destOrd="0" presId="urn:microsoft.com/office/officeart/2005/8/layout/process5"/>
    <dgm:cxn modelId="{D8EC7893-F92F-4684-9474-500CAE021CC7}" type="presParOf" srcId="{3DC75831-9763-484B-BD3F-EF3588F2FA17}" destId="{234B9E23-103E-4494-9FFA-BF4D15968A30}" srcOrd="4" destOrd="0" presId="urn:microsoft.com/office/officeart/2005/8/layout/process5"/>
    <dgm:cxn modelId="{237E2F69-3BBB-4977-9C8F-6979389A9C8F}" type="presParOf" srcId="{3DC75831-9763-484B-BD3F-EF3588F2FA17}" destId="{26862696-A2ED-460C-885A-E92A6BCDE8C6}" srcOrd="5" destOrd="0" presId="urn:microsoft.com/office/officeart/2005/8/layout/process5"/>
    <dgm:cxn modelId="{E4C507C0-9CBD-4638-8CC7-787AB932C101}" type="presParOf" srcId="{26862696-A2ED-460C-885A-E92A6BCDE8C6}" destId="{C798FFF0-5071-4229-B486-BF3868C93DB9}" srcOrd="0" destOrd="0" presId="urn:microsoft.com/office/officeart/2005/8/layout/process5"/>
    <dgm:cxn modelId="{6B52AE18-4F8C-4F0E-A0FE-06DED33A2B9E}" type="presParOf" srcId="{3DC75831-9763-484B-BD3F-EF3588F2FA17}" destId="{55322AD6-E72E-4099-88CF-58923D0A440C}" srcOrd="6" destOrd="0" presId="urn:microsoft.com/office/officeart/2005/8/layout/process5"/>
    <dgm:cxn modelId="{5B68D13A-38B6-4652-A0AA-3EBE34E4A63D}" type="presParOf" srcId="{3DC75831-9763-484B-BD3F-EF3588F2FA17}" destId="{D6DDB2F6-27D7-477E-BD0E-B9EF332CB9C3}" srcOrd="7" destOrd="0" presId="urn:microsoft.com/office/officeart/2005/8/layout/process5"/>
    <dgm:cxn modelId="{8D5F509F-D5F3-473B-8125-6B1F383C60FF}" type="presParOf" srcId="{D6DDB2F6-27D7-477E-BD0E-B9EF332CB9C3}" destId="{4A855555-1E21-4001-9B7B-E0F68C88AC43}" srcOrd="0" destOrd="0" presId="urn:microsoft.com/office/officeart/2005/8/layout/process5"/>
    <dgm:cxn modelId="{5F1CE298-809D-467B-8084-0E5D118A2058}" type="presParOf" srcId="{3DC75831-9763-484B-BD3F-EF3588F2FA17}" destId="{64B5AF91-8719-4185-AD28-371A06A549C1}" srcOrd="8" destOrd="0" presId="urn:microsoft.com/office/officeart/2005/8/layout/process5"/>
    <dgm:cxn modelId="{E2593AB0-7EE4-4FEE-84F8-076C2CFF7DCB}" type="presParOf" srcId="{3DC75831-9763-484B-BD3F-EF3588F2FA17}" destId="{E2B50776-251C-44B4-AAA3-0F22BF3F50F2}" srcOrd="9" destOrd="0" presId="urn:microsoft.com/office/officeart/2005/8/layout/process5"/>
    <dgm:cxn modelId="{448BFD1D-6715-4FB1-8428-7BF8637C4832}" type="presParOf" srcId="{E2B50776-251C-44B4-AAA3-0F22BF3F50F2}" destId="{336FA401-CBD3-4296-AB5A-2A6E7D5B81A7}" srcOrd="0" destOrd="0" presId="urn:microsoft.com/office/officeart/2005/8/layout/process5"/>
    <dgm:cxn modelId="{FA570FBD-05EF-447C-B0D1-F23E69DF5DCA}" type="presParOf" srcId="{3DC75831-9763-484B-BD3F-EF3588F2FA17}" destId="{54C2D2CF-3FE8-41BD-B1E4-5CEE7948B504}" srcOrd="10" destOrd="0" presId="urn:microsoft.com/office/officeart/2005/8/layout/process5"/>
    <dgm:cxn modelId="{3FB7DED8-1939-46C5-B85E-E964C3116981}" type="presParOf" srcId="{3DC75831-9763-484B-BD3F-EF3588F2FA17}" destId="{B4AB8BEA-0CB6-41EE-8B28-FF9D5CC082E1}" srcOrd="11" destOrd="0" presId="urn:microsoft.com/office/officeart/2005/8/layout/process5"/>
    <dgm:cxn modelId="{350722F8-C248-40C2-9E1F-4E0A3FB88411}" type="presParOf" srcId="{B4AB8BEA-0CB6-41EE-8B28-FF9D5CC082E1}" destId="{69B515A4-A19E-4025-AAA7-D639A8C23F47}" srcOrd="0" destOrd="0" presId="urn:microsoft.com/office/officeart/2005/8/layout/process5"/>
    <dgm:cxn modelId="{84196C8F-6B31-4020-B2D1-1A0009A5AB6B}" type="presParOf" srcId="{3DC75831-9763-484B-BD3F-EF3588F2FA17}" destId="{84DE3A44-3755-45B9-A34F-9D2260C8B74D}" srcOrd="12" destOrd="0" presId="urn:microsoft.com/office/officeart/2005/8/layout/process5"/>
    <dgm:cxn modelId="{C3436702-0930-43C8-BD93-15C4D3AE6515}" type="presParOf" srcId="{3DC75831-9763-484B-BD3F-EF3588F2FA17}" destId="{C58A1093-00C5-449D-8878-00AB3C0EDF98}" srcOrd="13" destOrd="0" presId="urn:microsoft.com/office/officeart/2005/8/layout/process5"/>
    <dgm:cxn modelId="{80794E04-C0DE-4207-8226-8E1E3F9ACD23}" type="presParOf" srcId="{C58A1093-00C5-449D-8878-00AB3C0EDF98}" destId="{2FF02FDF-2906-4FD2-B6B1-687E87D77080}" srcOrd="0" destOrd="0" presId="urn:microsoft.com/office/officeart/2005/8/layout/process5"/>
    <dgm:cxn modelId="{44407AEC-0C3B-44B3-B481-4CD99F524F39}" type="presParOf" srcId="{3DC75831-9763-484B-BD3F-EF3588F2FA17}" destId="{12AF003C-AB23-47B5-8287-DE1ED991E766}" srcOrd="14" destOrd="0" presId="urn:microsoft.com/office/officeart/2005/8/layout/process5"/>
    <dgm:cxn modelId="{CCB27917-B4A6-44DD-B873-CBFAF0F938BE}" type="presParOf" srcId="{3DC75831-9763-484B-BD3F-EF3588F2FA17}" destId="{D94CB1F0-6504-4184-B624-5E32FDB5B87A}" srcOrd="15" destOrd="0" presId="urn:microsoft.com/office/officeart/2005/8/layout/process5"/>
    <dgm:cxn modelId="{13AD0530-7ED3-4494-B97E-99BB88504D15}" type="presParOf" srcId="{D94CB1F0-6504-4184-B624-5E32FDB5B87A}" destId="{2A680C68-DB24-4DBD-9480-344A2789D7E5}" srcOrd="0" destOrd="0" presId="urn:microsoft.com/office/officeart/2005/8/layout/process5"/>
    <dgm:cxn modelId="{DBEE3ACF-8B41-48E4-BB0B-608A2C9A5EF4}" type="presParOf" srcId="{3DC75831-9763-484B-BD3F-EF3588F2FA17}" destId="{B18298A3-8CF9-4538-A62C-DD21D1BDD788}" srcOrd="16" destOrd="0" presId="urn:microsoft.com/office/officeart/2005/8/layout/process5"/>
    <dgm:cxn modelId="{44DDF7DB-031C-4732-8B3F-1A3742A546E2}" type="presParOf" srcId="{3DC75831-9763-484B-BD3F-EF3588F2FA17}" destId="{9E38C97D-1D39-40DE-814A-B9855ACD488B}" srcOrd="17" destOrd="0" presId="urn:microsoft.com/office/officeart/2005/8/layout/process5"/>
    <dgm:cxn modelId="{18ABA068-0823-48D1-86A1-1B880E29AFC4}" type="presParOf" srcId="{9E38C97D-1D39-40DE-814A-B9855ACD488B}" destId="{C19DEBA9-27A3-4C93-B5F3-D7CDD1FD20D8}" srcOrd="0" destOrd="0" presId="urn:microsoft.com/office/officeart/2005/8/layout/process5"/>
    <dgm:cxn modelId="{05A2310C-CF79-44EF-84F2-876B97B271A3}" type="presParOf" srcId="{3DC75831-9763-484B-BD3F-EF3588F2FA17}" destId="{AF1982A6-2818-41EB-BD91-8B71D6831884}" srcOrd="18" destOrd="0" presId="urn:microsoft.com/office/officeart/2005/8/layout/process5"/>
    <dgm:cxn modelId="{F661D7F3-4CFA-4DC1-9110-88C6DB076B79}" type="presParOf" srcId="{3DC75831-9763-484B-BD3F-EF3588F2FA17}" destId="{88818065-017F-4502-8FB7-660849B38EE9}" srcOrd="19" destOrd="0" presId="urn:microsoft.com/office/officeart/2005/8/layout/process5"/>
    <dgm:cxn modelId="{0A77657F-9BD8-4C5D-9255-86FB82661BFB}" type="presParOf" srcId="{88818065-017F-4502-8FB7-660849B38EE9}" destId="{55936D10-7FB0-470A-8666-64CB8A66D0D2}" srcOrd="0" destOrd="0" presId="urn:microsoft.com/office/officeart/2005/8/layout/process5"/>
    <dgm:cxn modelId="{0B18087E-5D62-4B33-AE57-D0910F88ADA3}" type="presParOf" srcId="{3DC75831-9763-484B-BD3F-EF3588F2FA17}" destId="{98F8AA3A-9B1C-4E12-9520-E93AE8B2E357}" srcOrd="20" destOrd="0" presId="urn:microsoft.com/office/officeart/2005/8/layout/process5"/>
    <dgm:cxn modelId="{1CD31B8D-BFDD-46E5-8052-AFA9313CA9E8}" type="presParOf" srcId="{3DC75831-9763-484B-BD3F-EF3588F2FA17}" destId="{AAEF37D3-A7B5-4FAC-AAEF-1E588711416B}" srcOrd="21" destOrd="0" presId="urn:microsoft.com/office/officeart/2005/8/layout/process5"/>
    <dgm:cxn modelId="{2C585717-7D38-4013-B88E-006D2DF20E46}" type="presParOf" srcId="{AAEF37D3-A7B5-4FAC-AAEF-1E588711416B}" destId="{6552780F-013A-4E25-AF10-E288961A914C}" srcOrd="0" destOrd="0" presId="urn:microsoft.com/office/officeart/2005/8/layout/process5"/>
    <dgm:cxn modelId="{33F6704B-52A4-4D32-8F2D-C5C5BDDE074B}" type="presParOf" srcId="{3DC75831-9763-484B-BD3F-EF3588F2FA17}" destId="{8BBEEEC3-C819-4773-8A9B-2613B4438E3C}" srcOrd="2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96170" cy="491167"/>
          </a:xfrm>
          <a:prstGeom prst="rect">
            <a:avLst/>
          </a:prstGeom>
        </p:spPr>
        <p:txBody>
          <a:bodyPr vert="horz" lIns="82622" tIns="41310" rIns="82622" bIns="41310" rtlCol="0"/>
          <a:lstStyle>
            <a:lvl1pPr algn="l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 sz="11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84058" y="0"/>
            <a:ext cx="2896170" cy="491167"/>
          </a:xfrm>
          <a:prstGeom prst="rect">
            <a:avLst/>
          </a:prstGeom>
        </p:spPr>
        <p:txBody>
          <a:bodyPr vert="horz" wrap="square" lIns="82622" tIns="41310" rIns="82622" bIns="4131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B10C2098-09F1-466C-9D64-EC43D103892D}" type="datetime1">
              <a:rPr lang="en-US"/>
              <a:pPr>
                <a:defRPr/>
              </a:pPr>
              <a:t>8/2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19604"/>
            <a:ext cx="2896170" cy="491166"/>
          </a:xfrm>
          <a:prstGeom prst="rect">
            <a:avLst/>
          </a:prstGeom>
        </p:spPr>
        <p:txBody>
          <a:bodyPr vert="horz" lIns="82622" tIns="41310" rIns="82622" bIns="41310" rtlCol="0" anchor="b"/>
          <a:lstStyle>
            <a:lvl1pPr algn="l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 sz="11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84058" y="9319604"/>
            <a:ext cx="2896170" cy="491166"/>
          </a:xfrm>
          <a:prstGeom prst="rect">
            <a:avLst/>
          </a:prstGeom>
        </p:spPr>
        <p:txBody>
          <a:bodyPr vert="horz" wrap="square" lIns="82622" tIns="41310" rIns="82622" bIns="41310" numCol="1" anchor="b" anchorCtr="0" compatLnSpc="1">
            <a:prstTxWarp prst="textNoShape">
              <a:avLst/>
            </a:prstTxWarp>
          </a:bodyPr>
          <a:lstStyle>
            <a:lvl1pPr algn="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BB0B575E-D5AF-4E33-A83E-19BC195CA9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94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69850" y="746125"/>
            <a:ext cx="6538913" cy="367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667868" y="4660585"/>
            <a:ext cx="5344495" cy="441421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1" y="0"/>
            <a:ext cx="2899291" cy="4895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tabLst>
                <a:tab pos="654090" algn="l"/>
                <a:tab pos="1308179" algn="l"/>
                <a:tab pos="1962269" algn="l"/>
                <a:tab pos="2616358" algn="l"/>
              </a:tabLst>
              <a:defRPr sz="1300"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3780939" y="0"/>
            <a:ext cx="2899291" cy="4895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tabLst>
                <a:tab pos="654090" algn="l"/>
                <a:tab pos="1308179" algn="l"/>
                <a:tab pos="1962269" algn="l"/>
                <a:tab pos="2616358" algn="l"/>
              </a:tabLst>
              <a:defRPr sz="1300"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1" y="9321171"/>
            <a:ext cx="2899291" cy="4895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tabLst>
                <a:tab pos="654090" algn="l"/>
                <a:tab pos="1308179" algn="l"/>
                <a:tab pos="1962269" algn="l"/>
                <a:tab pos="2616358" algn="l"/>
              </a:tabLst>
              <a:defRPr sz="1300"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3780939" y="9321171"/>
            <a:ext cx="2899291" cy="4895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652786" algn="l"/>
                <a:tab pos="1307138" algn="l"/>
                <a:tab pos="1961489" algn="l"/>
                <a:tab pos="2615839" algn="l"/>
              </a:tabLst>
              <a:defRPr sz="130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B7BD1333-7B4F-4747-8417-4E78340122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7006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6672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charset="0"/>
        <a:ea typeface="MS PGothic" panose="020B0600070205080204" pitchFamily="34" charset="-128"/>
        <a:cs typeface="Geneva" charset="-128"/>
      </a:defRPr>
    </a:lvl1pPr>
    <a:lvl2pPr marL="742950" indent="-285750" algn="l" defTabSz="46672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charset="0"/>
        <a:ea typeface="Geneva" charset="-128"/>
        <a:cs typeface="Geneva" charset="0"/>
      </a:defRPr>
    </a:lvl2pPr>
    <a:lvl3pPr marL="1143000" indent="-228600" algn="l" defTabSz="46672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charset="0"/>
        <a:ea typeface="Geneva" charset="-128"/>
        <a:cs typeface="Geneva" charset="0"/>
      </a:defRPr>
    </a:lvl3pPr>
    <a:lvl4pPr marL="1600200" indent="-228600" algn="l" defTabSz="46672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charset="0"/>
        <a:ea typeface="Geneva" charset="-128"/>
        <a:cs typeface="Geneva" charset="0"/>
      </a:defRPr>
    </a:lvl4pPr>
    <a:lvl5pPr marL="2057400" indent="-228600" algn="l" defTabSz="466725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charset="0"/>
        <a:ea typeface="Geneva" charset="-128"/>
        <a:cs typeface="Geneva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9850" y="746125"/>
            <a:ext cx="6538913" cy="3678238"/>
          </a:xfrm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dirty="0" smtClean="0"/>
              <a:t>Правильное внедрение СЭД/ECM для автоматизации закупочной деятельности позволяет значительно повысить эффективность закупок и продуктивность сотрудников отдела. Но для правильной работы необходимо организовать сквозную интеграцию с системами планирования и отчетности. В своем докладе спикер расскажет, как выявить ключевые компоненты и разработать архитектуру решения, а также правильно спланировать внедрение и проверку системы. Кроме того, в докладе будет представлен минимально необходимый функционал СЭД/ЕСМ для закупочной деятельности.</a:t>
            </a:r>
          </a:p>
          <a:p>
            <a:r>
              <a:rPr lang="en-US" dirty="0" smtClean="0"/>
              <a:t>20 </a:t>
            </a:r>
            <a:r>
              <a:rPr lang="ru-RU" dirty="0" smtClean="0"/>
              <a:t>мин</a:t>
            </a:r>
          </a:p>
        </p:txBody>
      </p:sp>
      <p:sp>
        <p:nvSpPr>
          <p:cNvPr id="9220" name="Номер слайда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476675" indent="-225152" defTabSz="459686" eaLnBrk="0" fontAlgn="base" hangingPunct="0">
              <a:spcBef>
                <a:spcPct val="0"/>
              </a:spcBef>
              <a:spcAft>
                <a:spcPct val="0"/>
              </a:spcAft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26979" indent="-225152" defTabSz="459686" eaLnBrk="0" fontAlgn="base" hangingPunct="0">
              <a:spcBef>
                <a:spcPct val="0"/>
              </a:spcBef>
              <a:spcAft>
                <a:spcPct val="0"/>
              </a:spcAft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377283" indent="-225152" defTabSz="459686" eaLnBrk="0" fontAlgn="base" hangingPunct="0">
              <a:spcBef>
                <a:spcPct val="0"/>
              </a:spcBef>
              <a:spcAft>
                <a:spcPct val="0"/>
              </a:spcAft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27588" indent="-225152" defTabSz="459686" eaLnBrk="0" fontAlgn="base" hangingPunct="0">
              <a:spcBef>
                <a:spcPct val="0"/>
              </a:spcBef>
              <a:spcAft>
                <a:spcPct val="0"/>
              </a:spcAft>
              <a:tabLst>
                <a:tab pos="650439" algn="l"/>
                <a:tab pos="1304007" algn="l"/>
                <a:tab pos="1956010" algn="l"/>
                <a:tab pos="260957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3DEDA538-BBC9-4D8C-9102-ED625DF1121B}" type="slidenum">
              <a:rPr lang="en-US" altLang="ru-RU" smtClean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pPr/>
              <a:t>1</a:t>
            </a:fld>
            <a:endParaRPr lang="en-US" altLang="ru-RU" smtClean="0">
              <a:solidFill>
                <a:srgbClr val="000000"/>
              </a:solidFill>
              <a:latin typeface="Times New Roman" panose="02020603050405020304" pitchFamily="18" charset="0"/>
              <a:ea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10638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11519093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0DFEF5-0AB3-48E9-8CEE-D498B77B86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718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11519093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BFF53B6F-F983-4B65-B650-A71972F0459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1663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5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9452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A9C9EF1-8C7E-444F-B066-67EDE88B22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3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9561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879301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20B716-C6F1-4A67-9042-6BDE33B50A7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065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5690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11456" y="1368000"/>
            <a:ext cx="2591796" cy="529215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887221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305E5DC3-3B64-4BFC-AEE9-1AA3CBCF7B2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82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3240000"/>
            <a:ext cx="11519093" cy="144000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sz="2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77E102-D58F-495C-B31B-7EC1B122C00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753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392936" y="5627689"/>
            <a:ext cx="3134536" cy="269875"/>
          </a:xfrm>
          <a:prstGeom prst="rect">
            <a:avLst/>
          </a:prstGeom>
        </p:spPr>
        <p:txBody>
          <a:bodyPr lIns="100794" tIns="50397" rIns="100794" bIns="50397"/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cs typeface="+mn-cs"/>
              </a:defRPr>
            </a:lvl1pPr>
          </a:lstStyle>
          <a:p>
            <a:pPr eaLnBrk="1">
              <a:defRPr/>
            </a:pPr>
            <a:endParaRPr lang="ru-RU">
              <a:solidFill>
                <a:srgbClr val="333333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8776" y="7159626"/>
            <a:ext cx="764056" cy="365125"/>
          </a:xfrm>
        </p:spPr>
        <p:txBody>
          <a:bodyPr/>
          <a:lstStyle>
            <a:lvl1pPr>
              <a:defRPr/>
            </a:lvl1pPr>
          </a:lstStyle>
          <a:p>
            <a:fld id="{C377E102-D58F-495C-B31B-7EC1B122C00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94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11519093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BFF53B6F-F983-4B65-B650-A71972F0459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742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5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9452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A9C9EF1-8C7E-444F-B066-67EDE88B22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003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9561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879301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20B716-C6F1-4A67-9042-6BDE33B50A7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099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5690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11456" y="1368000"/>
            <a:ext cx="2591796" cy="529215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887221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305E5DC3-3B64-4BFC-AEE9-1AA3CBCF7B2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696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5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9452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D68BB-16B5-436D-A84A-A7A522D543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951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3240000"/>
            <a:ext cx="11519093" cy="144000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sz="2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7093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11519093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BFF53B6F-F983-4B65-B650-A71972F0459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79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5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9452" y="1368000"/>
            <a:ext cx="5519565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A9C9EF1-8C7E-444F-B066-67EDE88B22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0969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9561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879301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20B716-C6F1-4A67-9042-6BDE33B50A7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6299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5690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11456" y="1368000"/>
            <a:ext cx="2591796" cy="529215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887221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305E5DC3-3B64-4BFC-AEE9-1AA3CBCF7B2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043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3240000"/>
            <a:ext cx="11519093" cy="144000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sz="2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77E102-D58F-495C-B31B-7EC1B122C00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9675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392936" y="5627689"/>
            <a:ext cx="3134536" cy="269875"/>
          </a:xfrm>
          <a:prstGeom prst="rect">
            <a:avLst/>
          </a:prstGeom>
        </p:spPr>
        <p:txBody>
          <a:bodyPr lIns="100794" tIns="50397" rIns="100794" bIns="50397"/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cs typeface="+mn-cs"/>
              </a:defRPr>
            </a:lvl1pPr>
          </a:lstStyle>
          <a:p>
            <a:pPr eaLnBrk="1">
              <a:defRPr/>
            </a:pPr>
            <a:endParaRPr lang="ru-RU">
              <a:solidFill>
                <a:srgbClr val="333333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89504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95614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879301" y="1368000"/>
            <a:ext cx="3599717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A2717-6839-4325-B953-B0ED90540E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96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59924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5690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11456" y="1368000"/>
            <a:ext cx="2591796" cy="529215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887221" y="1368000"/>
            <a:ext cx="2591796" cy="529215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68000"/>
            <a:ext cx="11519093" cy="79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D701D9-AFB7-4B7B-8790-8902E56E2B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963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3240000"/>
            <a:ext cx="11519093" cy="144000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>
              <a:defRPr sz="2600">
                <a:solidFill>
                  <a:srgbClr val="FF000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FA498-D015-4064-A8A5-7082E26086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81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1E000A-3228-4A9E-9CAA-BC22440A79E6}" type="slidenum">
              <a:rPr lang="ru-RU"/>
              <a:pPr/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7303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581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59924" y="4860000"/>
            <a:ext cx="11519093" cy="1440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26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329746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58776" y="7159626"/>
            <a:ext cx="764056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A31E000A-3228-4A9E-9CAA-BC22440A79E6}" type="slidenum">
              <a:rPr lang="ru-RU"/>
              <a:pPr/>
              <a:t>‹#›</a:t>
            </a:fld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480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6983413"/>
            <a:ext cx="13439775" cy="5762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  <a:gs pos="70000">
                <a:schemeClr val="bg1">
                  <a:lumMod val="85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/>
            </a:pPr>
            <a:endParaRPr lang="en-US"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32044" y="7159626"/>
            <a:ext cx="386049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solidFill>
                  <a:srgbClr val="7F7F7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776" y="7159626"/>
            <a:ext cx="76405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solidFill>
                  <a:srgbClr val="7F7F7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14BC947-E4A6-4F6D-B0A6-B7A8F789C5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3" descr="logo-s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9931" y="7188795"/>
            <a:ext cx="1360487" cy="13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8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Geneva" charset="0"/>
          <a:cs typeface="+mj-cs"/>
        </a:defRPr>
      </a:lvl1pPr>
      <a:lvl2pPr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2pPr>
      <a:lvl3pPr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3pPr>
      <a:lvl4pPr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4pPr>
      <a:lvl5pPr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5pPr>
      <a:lvl6pPr marL="2514600" indent="-228600"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6pPr>
      <a:lvl7pPr marL="2971800" indent="-228600"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7pPr>
      <a:lvl8pPr marL="3429000" indent="-228600"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8pPr>
      <a:lvl9pPr marL="3886200" indent="-228600" algn="ctr" defTabSz="466725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defTabSz="466725" rtl="0" eaLnBrk="1" fontAlgn="base" hangingPunct="1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Geneva" charset="0"/>
          <a:cs typeface="+mn-cs"/>
        </a:defRPr>
      </a:lvl1pPr>
      <a:lvl2pPr marL="742950" indent="-285750" algn="l" defTabSz="466725" rtl="0" eaLnBrk="1" fontAlgn="base" hangingPunct="1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66725" rtl="0" eaLnBrk="1" fontAlgn="base" hangingPunct="1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26" r:id="rId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Geneva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Geneva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Geneva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Geneva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Geneva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Geneva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Geneva" charset="0"/>
          <a:cs typeface="Geneva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Geneva" charset="0"/>
          <a:cs typeface="Geneva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6983413"/>
            <a:ext cx="13439775" cy="5762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  <a:gs pos="70000">
                <a:schemeClr val="bg1">
                  <a:lumMod val="85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/>
            </a:pPr>
            <a:endParaRPr lang="en-US">
              <a:solidFill>
                <a:srgbClr val="333333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32044" y="7159626"/>
            <a:ext cx="386049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solidFill>
                  <a:srgbClr val="7F7F7F"/>
                </a:solidFill>
                <a:cs typeface="Arial" pitchFamily="34" charset="0"/>
              </a:defRPr>
            </a:lvl1pPr>
          </a:lstStyle>
          <a:p>
            <a:pPr eaLnBrk="1">
              <a:defRPr/>
            </a:pPr>
            <a:endParaRPr lang="en-US">
              <a:ea typeface="ＭＳ Ｐゴシック" panose="020B0600070205080204" pitchFamily="34" charset="-128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776" y="7159626"/>
            <a:ext cx="76405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solidFill>
                  <a:srgbClr val="7F7F7F"/>
                </a:solidFill>
              </a:defRPr>
            </a:lvl1pPr>
          </a:lstStyle>
          <a:p>
            <a:pPr eaLnBrk="1"/>
            <a:fld id="{327D60B2-DE61-4061-A854-9EB9342CF514}" type="slidenum">
              <a:rPr lang="en-US">
                <a:ea typeface="ＭＳ Ｐゴシック" panose="020B0600070205080204" pitchFamily="34" charset="-128"/>
              </a:rPr>
              <a:pPr eaLnBrk="1"/>
              <a:t>‹#›</a:t>
            </a:fld>
            <a:endParaRPr lang="en-US">
              <a:ea typeface="ＭＳ Ｐゴシック" panose="020B0600070205080204" pitchFamily="34" charset="-128"/>
            </a:endParaRPr>
          </a:p>
        </p:txBody>
      </p:sp>
      <p:pic>
        <p:nvPicPr>
          <p:cNvPr id="1029" name="Picture 3" descr="logo-s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6579" y="7177088"/>
            <a:ext cx="1813840" cy="13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5255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Geneva" charset="0"/>
          <a:cs typeface="+mj-cs"/>
        </a:defRPr>
      </a:lvl1pPr>
      <a:lvl2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2pPr>
      <a:lvl3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3pPr>
      <a:lvl4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4pPr>
      <a:lvl5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5pPr>
      <a:lvl6pPr marL="25146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6pPr>
      <a:lvl7pPr marL="29718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7pPr>
      <a:lvl8pPr marL="34290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8pPr>
      <a:lvl9pPr marL="38862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defTabSz="466725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Geneva" charset="0"/>
          <a:cs typeface="+mn-cs"/>
        </a:defRPr>
      </a:lvl1pPr>
      <a:lvl2pPr marL="742950" indent="-285750" algn="l" defTabSz="466725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6983413"/>
            <a:ext cx="13439775" cy="5762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  <a:gs pos="70000">
                <a:schemeClr val="bg1">
                  <a:lumMod val="85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/>
            </a:pPr>
            <a:endParaRPr lang="en-US">
              <a:solidFill>
                <a:srgbClr val="333333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32044" y="7159626"/>
            <a:ext cx="386049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solidFill>
                  <a:srgbClr val="7F7F7F"/>
                </a:solidFill>
                <a:cs typeface="Arial" pitchFamily="34" charset="0"/>
              </a:defRPr>
            </a:lvl1pPr>
          </a:lstStyle>
          <a:p>
            <a:pPr eaLnBrk="1">
              <a:defRPr/>
            </a:pPr>
            <a:endParaRPr lang="en-US">
              <a:ea typeface="ＭＳ Ｐゴシック" panose="020B0600070205080204" pitchFamily="34" charset="-128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776" y="7159626"/>
            <a:ext cx="76405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solidFill>
                  <a:srgbClr val="7F7F7F"/>
                </a:solidFill>
              </a:defRPr>
            </a:lvl1pPr>
          </a:lstStyle>
          <a:p>
            <a:pPr eaLnBrk="1"/>
            <a:fld id="{327D60B2-DE61-4061-A854-9EB9342CF514}" type="slidenum">
              <a:rPr lang="en-US">
                <a:ea typeface="ＭＳ Ｐゴシック" panose="020B0600070205080204" pitchFamily="34" charset="-128"/>
              </a:rPr>
              <a:pPr eaLnBrk="1"/>
              <a:t>‹#›</a:t>
            </a:fld>
            <a:endParaRPr lang="en-US">
              <a:ea typeface="ＭＳ Ｐゴシック" panose="020B0600070205080204" pitchFamily="34" charset="-128"/>
            </a:endParaRPr>
          </a:p>
        </p:txBody>
      </p:sp>
      <p:pic>
        <p:nvPicPr>
          <p:cNvPr id="1029" name="Picture 3" descr="logo-s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6579" y="7177088"/>
            <a:ext cx="1813840" cy="13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485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Geneva" charset="0"/>
          <a:cs typeface="+mj-cs"/>
        </a:defRPr>
      </a:lvl1pPr>
      <a:lvl2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2pPr>
      <a:lvl3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3pPr>
      <a:lvl4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4pPr>
      <a:lvl5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5pPr>
      <a:lvl6pPr marL="25146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6pPr>
      <a:lvl7pPr marL="29718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7pPr>
      <a:lvl8pPr marL="34290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8pPr>
      <a:lvl9pPr marL="38862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defTabSz="466725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Geneva" charset="0"/>
          <a:cs typeface="+mn-cs"/>
        </a:defRPr>
      </a:lvl1pPr>
      <a:lvl2pPr marL="742950" indent="-285750" algn="l" defTabSz="466725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6983413"/>
            <a:ext cx="13439775" cy="5762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  <a:gs pos="70000">
                <a:schemeClr val="bg1">
                  <a:lumMod val="85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  <a:defRPr/>
            </a:pPr>
            <a:endParaRPr lang="en-US">
              <a:solidFill>
                <a:srgbClr val="333333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32044" y="7159626"/>
            <a:ext cx="386049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solidFill>
                  <a:srgbClr val="7F7F7F"/>
                </a:solidFill>
                <a:cs typeface="Arial" pitchFamily="34" charset="0"/>
              </a:defRPr>
            </a:lvl1pPr>
          </a:lstStyle>
          <a:p>
            <a:pPr eaLnBrk="1">
              <a:defRPr/>
            </a:pPr>
            <a:endParaRPr lang="en-US">
              <a:ea typeface="ＭＳ Ｐゴシック" panose="020B0600070205080204" pitchFamily="34" charset="-128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776" y="7159626"/>
            <a:ext cx="764056" cy="3651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100">
                <a:solidFill>
                  <a:srgbClr val="7F7F7F"/>
                </a:solidFill>
              </a:defRPr>
            </a:lvl1pPr>
          </a:lstStyle>
          <a:p>
            <a:pPr eaLnBrk="1"/>
            <a:fld id="{327D60B2-DE61-4061-A854-9EB9342CF514}" type="slidenum">
              <a:rPr lang="en-US">
                <a:ea typeface="ＭＳ Ｐゴシック" panose="020B0600070205080204" pitchFamily="34" charset="-128"/>
              </a:rPr>
              <a:pPr eaLnBrk="1"/>
              <a:t>‹#›</a:t>
            </a:fld>
            <a:endParaRPr lang="en-US">
              <a:ea typeface="ＭＳ Ｐゴシック" panose="020B0600070205080204" pitchFamily="34" charset="-128"/>
            </a:endParaRPr>
          </a:p>
        </p:txBody>
      </p:sp>
      <p:pic>
        <p:nvPicPr>
          <p:cNvPr id="1029" name="Picture 3" descr="logo-s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6579" y="7177088"/>
            <a:ext cx="1813840" cy="13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81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Geneva" charset="0"/>
          <a:cs typeface="+mj-cs"/>
        </a:defRPr>
      </a:lvl1pPr>
      <a:lvl2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2pPr>
      <a:lvl3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3pPr>
      <a:lvl4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4pPr>
      <a:lvl5pPr algn="ctr" defTabSz="466725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Geneva" charset="0"/>
          <a:cs typeface="Arial Unicode MS" charset="0"/>
        </a:defRPr>
      </a:lvl5pPr>
      <a:lvl6pPr marL="25146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6pPr>
      <a:lvl7pPr marL="29718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7pPr>
      <a:lvl8pPr marL="34290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8pPr>
      <a:lvl9pPr marL="3886200" indent="-228600" algn="ctr" defTabSz="466725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defTabSz="466725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Geneva" charset="0"/>
          <a:cs typeface="+mn-cs"/>
        </a:defRPr>
      </a:lvl1pPr>
      <a:lvl2pPr marL="742950" indent="-285750" algn="l" defTabSz="466725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66725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66725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b2b-center.ru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5" descr="logo-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342" y="1043981"/>
            <a:ext cx="3409093" cy="71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2543424" y="2915741"/>
            <a:ext cx="8639175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>
              <a:lnSpc>
                <a:spcPct val="93000"/>
              </a:lnSpc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altLang="ru-RU" sz="4400" dirty="0"/>
              <a:t>Особенности внедрения СЭД/ECM для автоматизации закупочной деятельности</a:t>
            </a:r>
            <a:endParaRPr lang="ru-RU" altLang="ru-RU" sz="2000" dirty="0">
              <a:cs typeface="Arial" panose="020B0604020202020204" pitchFamily="34" charset="0"/>
            </a:endParaRPr>
          </a:p>
          <a:p>
            <a:pPr algn="ctr" eaLnBrk="1">
              <a:lnSpc>
                <a:spcPct val="93000"/>
              </a:lnSpc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altLang="ru-RU" sz="2000" dirty="0">
                <a:cs typeface="Arial" panose="020B0604020202020204" pitchFamily="34" charset="0"/>
              </a:rPr>
              <a:t/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en-US" altLang="ru-RU" sz="2000" dirty="0">
                <a:cs typeface="Arial" panose="020B0604020202020204" pitchFamily="34" charset="0"/>
              </a:rPr>
              <a:t>Russian Enterprise Content Summit 2014</a:t>
            </a:r>
            <a:endParaRPr lang="ru-RU" altLang="ru-RU" sz="2000" dirty="0">
              <a:cs typeface="Arial" panose="020B0604020202020204" pitchFamily="34" charset="0"/>
            </a:endParaRPr>
          </a:p>
          <a:p>
            <a:pPr algn="ctr" eaLnBrk="1">
              <a:lnSpc>
                <a:spcPct val="93000"/>
              </a:lnSpc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ru-RU" altLang="ru-RU" sz="2000" dirty="0">
                <a:cs typeface="Arial" panose="020B0604020202020204" pitchFamily="34" charset="0"/>
              </a:rPr>
              <a:t>10 сентября 2014 г.</a:t>
            </a:r>
          </a:p>
        </p:txBody>
      </p:sp>
      <p:sp>
        <p:nvSpPr>
          <p:cNvPr id="8196" name="Text Box 2"/>
          <p:cNvSpPr txBox="1">
            <a:spLocks noChangeArrowheads="1"/>
          </p:cNvSpPr>
          <p:nvPr/>
        </p:nvSpPr>
        <p:spPr bwMode="auto">
          <a:xfrm>
            <a:off x="4919663" y="6659563"/>
            <a:ext cx="36004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66725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ru-RU">
                <a:solidFill>
                  <a:srgbClr val="0084D1"/>
                </a:solidFill>
                <a:cs typeface="Arial" panose="020B0604020202020204" pitchFamily="34" charset="0"/>
                <a:hlinkClick r:id="rId4"/>
              </a:rPr>
              <a:t>b2b-center.ru</a:t>
            </a:r>
          </a:p>
        </p:txBody>
      </p:sp>
    </p:spTree>
    <p:extLst>
      <p:ext uri="{BB962C8B-B14F-4D97-AF65-F5344CB8AC3E}">
        <p14:creationId xmlns:p14="http://schemas.microsoft.com/office/powerpoint/2010/main" val="1750166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E000A-3228-4A9E-9CAA-BC22440A79E6}" type="slidenum">
              <a:rPr lang="ru-RU" smtClean="0"/>
              <a:pPr/>
              <a:t>10</a:t>
            </a:fld>
            <a:r>
              <a:rPr lang="ru-RU" smtClean="0"/>
              <a:t> 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432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151843489"/>
              </p:ext>
            </p:extLst>
          </p:nvPr>
        </p:nvGraphicFramePr>
        <p:xfrm>
          <a:off x="8167762" y="1260000"/>
          <a:ext cx="5272013" cy="4426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Обзор доклада – </a:t>
            </a:r>
            <a:r>
              <a:rPr lang="en-US" dirty="0" smtClean="0"/>
              <a:t>ECM </a:t>
            </a:r>
            <a:r>
              <a:rPr lang="ru-RU" dirty="0"/>
              <a:t>для автоматизации закупочной </a:t>
            </a:r>
            <a:r>
              <a:rPr lang="ru-RU" dirty="0" smtClean="0"/>
              <a:t>деятельност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5285615" y="1475581"/>
            <a:ext cx="3120364" cy="5292157"/>
          </a:xfrm>
        </p:spPr>
        <p:txBody>
          <a:bodyPr/>
          <a:lstStyle/>
          <a:p>
            <a:pPr marL="0" indent="0"/>
            <a:r>
              <a:rPr lang="ru-RU" dirty="0" smtClean="0"/>
              <a:t>Обсудим как организовать проект перехода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Какие </a:t>
            </a:r>
            <a:r>
              <a:rPr lang="ru-RU" dirty="0"/>
              <a:t>существуют особенности </a:t>
            </a:r>
            <a:r>
              <a:rPr lang="en-US" dirty="0" smtClean="0"/>
              <a:t>ECM </a:t>
            </a:r>
            <a:r>
              <a:rPr lang="ru-RU" dirty="0" smtClean="0"/>
              <a:t>для закупочной деятельности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Какие возможные виды решений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Важность сквозной интеграции компонентов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Как </a:t>
            </a:r>
            <a:r>
              <a:rPr lang="ru-RU" dirty="0"/>
              <a:t>выявить </a:t>
            </a:r>
            <a:r>
              <a:rPr lang="ru-RU" dirty="0" smtClean="0"/>
              <a:t>ключевые компоненты (в том числе, среди </a:t>
            </a:r>
            <a:r>
              <a:rPr lang="ru-RU" dirty="0"/>
              <a:t>имеющихся систем </a:t>
            </a:r>
            <a:r>
              <a:rPr lang="ru-RU" dirty="0" smtClean="0"/>
              <a:t>организации)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Как планировать и реализовать переход.</a:t>
            </a:r>
          </a:p>
          <a:p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708671668"/>
              </p:ext>
            </p:extLst>
          </p:nvPr>
        </p:nvGraphicFramePr>
        <p:xfrm>
          <a:off x="-515597" y="1547588"/>
          <a:ext cx="6496149" cy="3994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343" y="2800110"/>
            <a:ext cx="1764400" cy="177181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83272" y="5868068"/>
            <a:ext cx="475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 сложного мира без автоматизации</a:t>
            </a:r>
            <a:br>
              <a:rPr lang="ru-RU" dirty="0" smtClean="0"/>
            </a:br>
            <a:r>
              <a:rPr lang="ru-RU" dirty="0" smtClean="0"/>
              <a:t>закупочной деятельности…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8455794" y="5868069"/>
            <a:ext cx="475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В более эффективный и</a:t>
            </a:r>
          </a:p>
          <a:p>
            <a:pPr algn="ctr"/>
            <a:r>
              <a:rPr lang="ru-RU" dirty="0" smtClean="0"/>
              <a:t>прозрачный процесс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19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Одна поэтапная интерпретация бизнес-процесса закупочной деятельност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E4D68BB-16B5-436D-A84A-A7A522D543E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943639881"/>
              </p:ext>
            </p:extLst>
          </p:nvPr>
        </p:nvGraphicFramePr>
        <p:xfrm>
          <a:off x="383183" y="1703501"/>
          <a:ext cx="12457384" cy="448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Развернутая стрелка 13"/>
          <p:cNvSpPr/>
          <p:nvPr/>
        </p:nvSpPr>
        <p:spPr bwMode="auto">
          <a:xfrm rot="5400000">
            <a:off x="9570636" y="1950066"/>
            <a:ext cx="576063" cy="2363399"/>
          </a:xfrm>
          <a:prstGeom prst="uturnArrow">
            <a:avLst>
              <a:gd name="adj1" fmla="val 33282"/>
              <a:gd name="adj2" fmla="val 25000"/>
              <a:gd name="adj3" fmla="val 25000"/>
              <a:gd name="adj4" fmla="val 43750"/>
              <a:gd name="adj5" fmla="val 75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vert270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1600" dirty="0" smtClean="0">
                <a:latin typeface="Arial" charset="0"/>
              </a:rPr>
              <a:t>…торговой процедуры</a:t>
            </a:r>
            <a:endParaRPr lang="ru-RU" sz="1600" dirty="0">
              <a:latin typeface="Arial" charset="0"/>
            </a:endParaRPr>
          </a:p>
        </p:txBody>
      </p:sp>
      <p:sp>
        <p:nvSpPr>
          <p:cNvPr id="17" name="Стрелка углом 16"/>
          <p:cNvSpPr/>
          <p:nvPr/>
        </p:nvSpPr>
        <p:spPr bwMode="auto">
          <a:xfrm rot="5400000">
            <a:off x="4828013" y="-2223477"/>
            <a:ext cx="529098" cy="7128793"/>
          </a:xfrm>
          <a:prstGeom prst="bentArrow">
            <a:avLst>
              <a:gd name="adj1" fmla="val 41792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1600" dirty="0">
                <a:latin typeface="Arial" charset="0"/>
              </a:rPr>
              <a:t>Жизненный цикл заявки на закупку</a:t>
            </a:r>
          </a:p>
        </p:txBody>
      </p:sp>
      <p:sp>
        <p:nvSpPr>
          <p:cNvPr id="19" name="Стрелка углом 18"/>
          <p:cNvSpPr/>
          <p:nvPr/>
        </p:nvSpPr>
        <p:spPr bwMode="auto">
          <a:xfrm rot="16200000" flipH="1">
            <a:off x="5075226" y="1559109"/>
            <a:ext cx="553021" cy="6480722"/>
          </a:xfrm>
          <a:prstGeom prst="bentArrow">
            <a:avLst>
              <a:gd name="adj1" fmla="val 41792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1600" dirty="0" smtClean="0">
                <a:latin typeface="Arial" charset="0"/>
              </a:rPr>
              <a:t>…и договоров</a:t>
            </a:r>
            <a:endParaRPr lang="ru-RU" sz="16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66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Скругленный прямоугольник 90"/>
          <p:cNvSpPr/>
          <p:nvPr/>
        </p:nvSpPr>
        <p:spPr bwMode="auto">
          <a:xfrm>
            <a:off x="3115319" y="3246094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671215" y="3246094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0" name="Скругленный прямоугольник 99"/>
          <p:cNvSpPr/>
          <p:nvPr/>
        </p:nvSpPr>
        <p:spPr bwMode="auto">
          <a:xfrm>
            <a:off x="7908019" y="151580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1" name="Скругленный прямоугольник 100"/>
          <p:cNvSpPr/>
          <p:nvPr/>
        </p:nvSpPr>
        <p:spPr bwMode="auto">
          <a:xfrm>
            <a:off x="671215" y="500397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6" name="Скругленный прямоугольник 95"/>
          <p:cNvSpPr/>
          <p:nvPr/>
        </p:nvSpPr>
        <p:spPr bwMode="auto">
          <a:xfrm>
            <a:off x="7908019" y="151580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 bwMode="auto">
          <a:xfrm>
            <a:off x="10320287" y="1519615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 bwMode="auto">
          <a:xfrm>
            <a:off x="10320287" y="3278620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3" name="Скругленный прямоугольник 92"/>
          <p:cNvSpPr/>
          <p:nvPr/>
        </p:nvSpPr>
        <p:spPr bwMode="auto">
          <a:xfrm>
            <a:off x="3119487" y="151580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4" name="Скругленный прямоугольник 93"/>
          <p:cNvSpPr/>
          <p:nvPr/>
        </p:nvSpPr>
        <p:spPr bwMode="auto">
          <a:xfrm>
            <a:off x="7908019" y="3246094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6" name="Скругленный прямоугольник 85"/>
          <p:cNvSpPr/>
          <p:nvPr/>
        </p:nvSpPr>
        <p:spPr bwMode="auto">
          <a:xfrm>
            <a:off x="671215" y="1529540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 bwMode="auto">
          <a:xfrm>
            <a:off x="5495751" y="1529540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 bwMode="auto">
          <a:xfrm>
            <a:off x="671215" y="500397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 bwMode="auto">
          <a:xfrm>
            <a:off x="3119487" y="500397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3" name="Скругленный прямоугольник 82"/>
          <p:cNvSpPr/>
          <p:nvPr/>
        </p:nvSpPr>
        <p:spPr bwMode="auto">
          <a:xfrm>
            <a:off x="673297" y="1529540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 bwMode="auto">
          <a:xfrm>
            <a:off x="3119487" y="5003973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 bwMode="auto">
          <a:xfrm>
            <a:off x="5495751" y="1529540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 bwMode="auto">
          <a:xfrm>
            <a:off x="10320287" y="3275781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 bwMode="auto">
          <a:xfrm>
            <a:off x="5495751" y="3272246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 bwMode="auto">
          <a:xfrm>
            <a:off x="3119487" y="3246094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 bwMode="auto">
          <a:xfrm>
            <a:off x="671215" y="1547589"/>
            <a:ext cx="2232248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effectLst/>
              <a:latin typeface="Arial" charset="0"/>
            </a:endParaRPr>
          </a:p>
        </p:txBody>
      </p:sp>
      <p:graphicFrame>
        <p:nvGraphicFramePr>
          <p:cNvPr id="31" name="Схема 30"/>
          <p:cNvGraphicFramePr/>
          <p:nvPr>
            <p:extLst>
              <p:ext uri="{D42A27DB-BD31-4B8C-83A1-F6EECF244321}">
                <p14:modId xmlns:p14="http://schemas.microsoft.com/office/powerpoint/2010/main" val="3546085904"/>
              </p:ext>
            </p:extLst>
          </p:nvPr>
        </p:nvGraphicFramePr>
        <p:xfrm>
          <a:off x="383183" y="1703501"/>
          <a:ext cx="12457384" cy="448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Процесс затрагивает разные существующие системы в организации</a:t>
            </a:r>
            <a:endParaRPr lang="ru-RU" dirty="0"/>
          </a:p>
        </p:txBody>
      </p:sp>
      <p:sp>
        <p:nvSpPr>
          <p:cNvPr id="77" name="TextBox 76"/>
          <p:cNvSpPr txBox="1"/>
          <p:nvPr/>
        </p:nvSpPr>
        <p:spPr>
          <a:xfrm>
            <a:off x="5783783" y="5075981"/>
            <a:ext cx="26434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истема согласования</a:t>
            </a:r>
            <a:endParaRPr lang="ru-RU" dirty="0"/>
          </a:p>
        </p:txBody>
      </p:sp>
      <p:sp>
        <p:nvSpPr>
          <p:cNvPr id="84" name="TextBox 83"/>
          <p:cNvSpPr txBox="1"/>
          <p:nvPr/>
        </p:nvSpPr>
        <p:spPr>
          <a:xfrm>
            <a:off x="5773414" y="5445313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RP</a:t>
            </a:r>
            <a:endParaRPr lang="ru-RU" dirty="0"/>
          </a:p>
        </p:txBody>
      </p:sp>
      <p:sp>
        <p:nvSpPr>
          <p:cNvPr id="87" name="TextBox 86"/>
          <p:cNvSpPr txBox="1"/>
          <p:nvPr/>
        </p:nvSpPr>
        <p:spPr>
          <a:xfrm>
            <a:off x="5783783" y="5814645"/>
            <a:ext cx="23667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истема отчётности</a:t>
            </a:r>
            <a:endParaRPr lang="ru-RU" dirty="0"/>
          </a:p>
        </p:txBody>
      </p:sp>
      <p:sp>
        <p:nvSpPr>
          <p:cNvPr id="92" name="TextBox 91"/>
          <p:cNvSpPr txBox="1"/>
          <p:nvPr/>
        </p:nvSpPr>
        <p:spPr>
          <a:xfrm>
            <a:off x="5773414" y="6183977"/>
            <a:ext cx="2079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еестр шаблонов</a:t>
            </a:r>
            <a:endParaRPr lang="ru-RU" dirty="0"/>
          </a:p>
        </p:txBody>
      </p:sp>
      <p:sp>
        <p:nvSpPr>
          <p:cNvPr id="95" name="TextBox 94"/>
          <p:cNvSpPr txBox="1"/>
          <p:nvPr/>
        </p:nvSpPr>
        <p:spPr>
          <a:xfrm>
            <a:off x="8520087" y="5075981"/>
            <a:ext cx="3790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Электронная Торговая Площадка</a:t>
            </a:r>
            <a:endParaRPr lang="ru-RU" dirty="0"/>
          </a:p>
        </p:txBody>
      </p:sp>
      <p:sp>
        <p:nvSpPr>
          <p:cNvPr id="99" name="TextBox 98"/>
          <p:cNvSpPr txBox="1"/>
          <p:nvPr/>
        </p:nvSpPr>
        <p:spPr>
          <a:xfrm>
            <a:off x="8520087" y="54453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RM</a:t>
            </a:r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8526373" y="5814645"/>
            <a:ext cx="21057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dirty="0"/>
              <a:t>Оператор по ЭДО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526373" y="6183977"/>
            <a:ext cx="48354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dirty="0"/>
              <a:t>Внешняя база </a:t>
            </a:r>
            <a:r>
              <a:rPr lang="ru-RU" dirty="0" smtClean="0"/>
              <a:t>договоров (</a:t>
            </a:r>
            <a:r>
              <a:rPr lang="ru-RU" dirty="0"/>
              <a:t>396-ФЗ / </a:t>
            </a:r>
            <a:r>
              <a:rPr lang="ru-RU" dirty="0" smtClean="0"/>
              <a:t>223-ФЗ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2702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32" grpId="0" animBg="1"/>
      <p:bldP spid="32" grpId="1" animBg="1"/>
      <p:bldP spid="100" grpId="0" animBg="1"/>
      <p:bldP spid="100" grpId="1" animBg="1"/>
      <p:bldP spid="101" grpId="0" animBg="1"/>
      <p:bldP spid="101" grpId="1" animBg="1"/>
      <p:bldP spid="96" grpId="0" animBg="1"/>
      <p:bldP spid="96" grpId="1" animBg="1"/>
      <p:bldP spid="97" grpId="0" animBg="1"/>
      <p:bldP spid="97" grpId="1" animBg="1"/>
      <p:bldP spid="98" grpId="0" animBg="1"/>
      <p:bldP spid="98" grpId="1" animBg="1"/>
      <p:bldP spid="93" grpId="0" animBg="1"/>
      <p:bldP spid="93" grpId="1" animBg="1"/>
      <p:bldP spid="94" grpId="0" animBg="1"/>
      <p:bldP spid="94" grpId="1" animBg="1"/>
      <p:bldP spid="86" grpId="0" animBg="1"/>
      <p:bldP spid="86" grpId="1" animBg="1"/>
      <p:bldP spid="88" grpId="0" animBg="1"/>
      <p:bldP spid="88" grpId="1" animBg="1"/>
      <p:bldP spid="89" grpId="0" animBg="1"/>
      <p:bldP spid="89" grpId="1" animBg="1"/>
      <p:bldP spid="90" grpId="0" animBg="1"/>
      <p:bldP spid="90" grpId="1" animBg="1"/>
      <p:bldP spid="83" grpId="0" animBg="1"/>
      <p:bldP spid="83" grpId="1" animBg="1"/>
      <p:bldP spid="85" grpId="0" animBg="1"/>
      <p:bldP spid="85" grpId="1" animBg="1"/>
      <p:bldP spid="79" grpId="0" animBg="1"/>
      <p:bldP spid="79" grpId="1" animBg="1"/>
      <p:bldP spid="80" grpId="0" animBg="1"/>
      <p:bldP spid="80" grpId="1" animBg="1"/>
      <p:bldP spid="81" grpId="0" animBg="1"/>
      <p:bldP spid="81" grpId="1" animBg="1"/>
      <p:bldP spid="82" grpId="0" animBg="1"/>
      <p:bldP spid="82" grpId="1" animBg="1"/>
      <p:bldP spid="78" grpId="0" animBg="1"/>
      <p:bldP spid="78" grpId="1" animBg="1"/>
      <p:bldP spid="77" grpId="0"/>
      <p:bldP spid="84" grpId="0"/>
      <p:bldP spid="87" grpId="0"/>
      <p:bldP spid="92" grpId="0"/>
      <p:bldP spid="95" grpId="0"/>
      <p:bldP spid="99" grpId="0"/>
      <p:bldP spid="30" grpId="0"/>
      <p:bldP spid="3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Как решить сложную архитектурную проблему для обеспечения полноценного решения?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E4D68BB-16B5-436D-A84A-A7A522D543E2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077007"/>
              </p:ext>
            </p:extLst>
          </p:nvPr>
        </p:nvGraphicFramePr>
        <p:xfrm>
          <a:off x="383184" y="1066189"/>
          <a:ext cx="12529392" cy="55219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182975"/>
                <a:gridCol w="3865696"/>
                <a:gridCol w="3600400"/>
                <a:gridCol w="2880321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Вид реше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люс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Минус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Для кого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искретные компоненты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Интеграции</a:t>
                      </a:r>
                      <a:r>
                        <a:rPr lang="ru-RU" sz="1600" baseline="0" dirty="0" smtClean="0"/>
                        <a:t> не требуется</a:t>
                      </a:r>
                      <a:endParaRPr lang="ru-RU" sz="16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Полная «гибкость» в выборе компонентов и функционал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Очень много рутинной работы на стыке компон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Больше</a:t>
                      </a:r>
                      <a:r>
                        <a:rPr lang="ru-RU" sz="1600" baseline="0" dirty="0" smtClean="0"/>
                        <a:t> ошибок от ручного переноса данных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baseline="0" dirty="0" smtClean="0"/>
                        <a:t>Отсутствие межкомпонентной отчётност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овсем небольших организаций</a:t>
                      </a:r>
                      <a:r>
                        <a:rPr lang="ru-RU" sz="1600" baseline="0" dirty="0" smtClean="0"/>
                        <a:t> с малым объемом транзакций;</a:t>
                      </a:r>
                    </a:p>
                    <a:p>
                      <a:r>
                        <a:rPr lang="ru-RU" sz="1600" baseline="0" dirty="0" smtClean="0"/>
                        <a:t>Тех, кто еще не в курсе возможности применения других видов решений</a:t>
                      </a:r>
                      <a:endParaRPr lang="ru-RU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err="1" smtClean="0"/>
                        <a:t>Монопродуктовое</a:t>
                      </a:r>
                      <a:r>
                        <a:rPr lang="ru-RU" sz="1600" dirty="0" smtClean="0"/>
                        <a:t> решени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Интеграция прост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Возможность</a:t>
                      </a:r>
                      <a:r>
                        <a:rPr lang="ru-RU" sz="1600" baseline="0" dirty="0" smtClean="0"/>
                        <a:t> работать с готовой сетью интеграторов и консульта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baseline="0" dirty="0" smtClean="0"/>
                        <a:t>Межкомпонентная отчётность</a:t>
                      </a:r>
                      <a:endParaRPr lang="ru-RU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Мало</a:t>
                      </a:r>
                      <a:r>
                        <a:rPr lang="ru-RU" sz="1600" baseline="0" dirty="0" smtClean="0"/>
                        <a:t> «гибкости» в функционале компон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Компоненты могут не соответствовать российскому законодательству или регламенту организаци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Работа «в плену» у одного </a:t>
                      </a:r>
                      <a:r>
                        <a:rPr lang="ru-RU" sz="1600" dirty="0" err="1" smtClean="0"/>
                        <a:t>вендора</a:t>
                      </a:r>
                      <a:r>
                        <a:rPr lang="ru-RU" sz="1600" dirty="0" smtClean="0"/>
                        <a:t> ПО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Крупных организаций, с возможностью перестройки их</a:t>
                      </a:r>
                      <a:r>
                        <a:rPr lang="ru-RU" sz="1600" baseline="0" dirty="0" smtClean="0"/>
                        <a:t> процессы под структуру </a:t>
                      </a:r>
                      <a:r>
                        <a:rPr lang="ru-RU" sz="1600" baseline="0" dirty="0" err="1" smtClean="0"/>
                        <a:t>монопродуктового</a:t>
                      </a:r>
                      <a:r>
                        <a:rPr lang="ru-RU" sz="1600" baseline="0" dirty="0" smtClean="0"/>
                        <a:t> решения</a:t>
                      </a:r>
                      <a:endParaRPr lang="ru-RU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err="1" smtClean="0"/>
                        <a:t>Мультипродуктовое</a:t>
                      </a:r>
                      <a:r>
                        <a:rPr lang="ru-RU" sz="1600" dirty="0" smtClean="0"/>
                        <a:t> интеграционное решени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Высокая «гибкость» в выборе компонентов и функционал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baseline="0" dirty="0" smtClean="0"/>
                        <a:t>Межкомпонентная отчётность (при правильной архитектуре)</a:t>
                      </a:r>
                      <a:endParaRPr lang="ru-RU" sz="16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+"/>
                      </a:pPr>
                      <a:r>
                        <a:rPr lang="ru-RU" sz="1600" dirty="0" smtClean="0"/>
                        <a:t>Возможна</a:t>
                      </a:r>
                      <a:r>
                        <a:rPr lang="ru-RU" sz="1600" baseline="0" dirty="0" smtClean="0"/>
                        <a:t> постепенный перенос данных со старых систем</a:t>
                      </a:r>
                      <a:endParaRPr lang="ru-RU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-"/>
                      </a:pPr>
                      <a:r>
                        <a:rPr lang="ru-RU" sz="1600" dirty="0" smtClean="0"/>
                        <a:t>Необходимость правильно проектировать архитектуру</a:t>
                      </a:r>
                      <a:r>
                        <a:rPr lang="ru-RU" sz="1600" baseline="0" dirty="0" smtClean="0"/>
                        <a:t> решения в начале реализаци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Крупных</a:t>
                      </a:r>
                      <a:r>
                        <a:rPr lang="ru-RU" sz="1600" baseline="0" dirty="0" smtClean="0"/>
                        <a:t> и средних организаций;</a:t>
                      </a:r>
                    </a:p>
                    <a:p>
                      <a:r>
                        <a:rPr lang="ru-RU" sz="1600" baseline="0" dirty="0" smtClean="0"/>
                        <a:t>Всех с необходимостью сквозной отчётности</a:t>
                      </a:r>
                      <a:endParaRPr lang="ru-RU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951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1E000A-3228-4A9E-9CAA-BC22440A79E6}" type="slidenum">
              <a:rPr lang="ru-RU" smtClean="0"/>
              <a:pPr/>
              <a:t>6</a:t>
            </a:fld>
            <a:r>
              <a:rPr lang="ru-RU" smtClean="0"/>
              <a:t> </a:t>
            </a:r>
            <a:endParaRPr lang="ru-RU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1103263" y="395462"/>
            <a:ext cx="9124206" cy="541789"/>
          </a:xfrm>
          <a:prstGeom prst="rect">
            <a:avLst/>
          </a:prstGeom>
        </p:spPr>
        <p:txBody>
          <a:bodyPr/>
          <a:lstStyle>
            <a:lvl1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+mj-lt"/>
                <a:ea typeface="Geneva" charset="0"/>
                <a:cs typeface="+mj-cs"/>
              </a:defRPr>
            </a:lvl1pPr>
            <a:lvl2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2pPr>
            <a:lvl3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3pPr>
            <a:lvl4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4pPr>
            <a:lvl5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5pPr>
            <a:lvl6pPr marL="25146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6pPr>
            <a:lvl7pPr marL="29718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7pPr>
            <a:lvl8pPr marL="34290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8pPr>
            <a:lvl9pPr marL="38862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9pPr>
          </a:lstStyle>
          <a:p>
            <a:pPr algn="l"/>
            <a:r>
              <a:rPr lang="ru-RU" sz="1800" b="1" kern="0" dirty="0">
                <a:solidFill>
                  <a:schemeClr val="tx1"/>
                </a:solidFill>
                <a:latin typeface="+mn-lt"/>
              </a:rPr>
              <a:t>Распространение</a:t>
            </a:r>
            <a:r>
              <a:rPr lang="ru-RU" sz="1800" b="1" kern="0" dirty="0">
                <a:solidFill>
                  <a:schemeClr val="tx1"/>
                </a:solidFill>
              </a:rPr>
              <a:t> СЭД на </a:t>
            </a:r>
            <a:r>
              <a:rPr lang="ru-RU" sz="1800" b="1" kern="0" dirty="0" smtClean="0">
                <a:solidFill>
                  <a:schemeClr val="tx1"/>
                </a:solidFill>
              </a:rPr>
              <a:t>рынке показывает </a:t>
            </a:r>
            <a:r>
              <a:rPr lang="ru-RU" sz="1800" b="1" kern="0" dirty="0">
                <a:solidFill>
                  <a:schemeClr val="tx1"/>
                </a:solidFill>
              </a:rPr>
              <a:t>существующее разнообразие </a:t>
            </a:r>
            <a:r>
              <a:rPr lang="ru-RU" sz="1800" b="1" kern="0" dirty="0" smtClean="0">
                <a:solidFill>
                  <a:schemeClr val="tx1"/>
                </a:solidFill>
              </a:rPr>
              <a:t>решений</a:t>
            </a:r>
            <a:endParaRPr lang="ru-RU" sz="1800" b="1" kern="0" dirty="0">
              <a:solidFill>
                <a:schemeClr val="tx1"/>
              </a:solidFill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983226460"/>
              </p:ext>
            </p:extLst>
          </p:nvPr>
        </p:nvGraphicFramePr>
        <p:xfrm>
          <a:off x="1895351" y="4211886"/>
          <a:ext cx="4824536" cy="2672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137085926"/>
              </p:ext>
            </p:extLst>
          </p:nvPr>
        </p:nvGraphicFramePr>
        <p:xfrm>
          <a:off x="6719887" y="4211886"/>
          <a:ext cx="4680520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0163866" y="6732166"/>
            <a:ext cx="1596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По данным </a:t>
            </a:r>
            <a:r>
              <a:rPr lang="en-US" sz="1200" dirty="0" err="1"/>
              <a:t>Tadviser</a:t>
            </a:r>
            <a:endParaRPr lang="en-US" sz="12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402988"/>
              </p:ext>
            </p:extLst>
          </p:nvPr>
        </p:nvGraphicFramePr>
        <p:xfrm>
          <a:off x="958776" y="940224"/>
          <a:ext cx="11521279" cy="311299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2048"/>
                <a:gridCol w="3408379"/>
                <a:gridCol w="1920213"/>
                <a:gridCol w="1920213"/>
                <a:gridCol w="1920213"/>
                <a:gridCol w="1920213"/>
              </a:tblGrid>
              <a:tr h="2542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№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err="1">
                          <a:effectLst/>
                        </a:rPr>
                        <a:t>Вендор</a:t>
                      </a:r>
                      <a:r>
                        <a:rPr lang="ru-RU" sz="1100" b="1" u="none" strike="noStrike" dirty="0">
                          <a:effectLst/>
                        </a:rPr>
                        <a:t>  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Количество продуктов самого </a:t>
                      </a:r>
                      <a:r>
                        <a:rPr lang="ru-RU" sz="1100" b="1" u="none" strike="noStrike" dirty="0" err="1">
                          <a:effectLst/>
                        </a:rPr>
                        <a:t>вендора</a:t>
                      </a:r>
                      <a:r>
                        <a:rPr lang="ru-RU" sz="1100" b="1" u="none" strike="noStrike" dirty="0">
                          <a:effectLst/>
                        </a:rPr>
                        <a:t>  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Внедрений  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Систем партнёров на базе продуктов </a:t>
                      </a:r>
                      <a:r>
                        <a:rPr lang="ru-RU" sz="1100" b="1" u="none" strike="noStrike" dirty="0" err="1">
                          <a:effectLst/>
                        </a:rPr>
                        <a:t>вендора</a:t>
                      </a:r>
                      <a:r>
                        <a:rPr lang="ru-RU" sz="1100" b="1" u="none" strike="noStrike" dirty="0">
                          <a:effectLst/>
                        </a:rPr>
                        <a:t>  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Проектов партнёров на базе решений </a:t>
                      </a:r>
                      <a:r>
                        <a:rPr lang="ru-RU" sz="1100" b="1" u="none" strike="noStrike" dirty="0" err="1">
                          <a:effectLst/>
                        </a:rPr>
                        <a:t>вендора</a:t>
                      </a:r>
                      <a:r>
                        <a:rPr lang="ru-RU" sz="1100" b="1" u="none" strike="noStrike" dirty="0">
                          <a:effectLst/>
                        </a:rPr>
                        <a:t>  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Электронные офисные системы - ЭО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4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>
                          <a:effectLst/>
                        </a:rPr>
                        <a:t>DocsVision</a:t>
                      </a:r>
                      <a:r>
                        <a:rPr lang="en-US" sz="1100" u="none" strike="noStrike" dirty="0">
                          <a:effectLst/>
                        </a:rPr>
                        <a:t> (</a:t>
                      </a:r>
                      <a:r>
                        <a:rPr lang="ru-RU" sz="1100" u="none" strike="noStrike" dirty="0" err="1">
                          <a:effectLst/>
                        </a:rPr>
                        <a:t>ДоксВижн</a:t>
                      </a:r>
                      <a:r>
                        <a:rPr lang="ru-RU" sz="1100" u="none" strike="noStrike" dirty="0">
                          <a:effectLst/>
                        </a:rPr>
                        <a:t>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32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 smtClean="0">
                          <a:effectLst/>
                        </a:rPr>
                        <a:t>Directu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29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ELM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20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AUM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5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Microsof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5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>
                          <a:effectLst/>
                        </a:rPr>
                        <a:t>BMicro</a:t>
                      </a:r>
                      <a:r>
                        <a:rPr lang="en-US" sz="1100" u="none" strike="noStrike" dirty="0">
                          <a:effectLst/>
                        </a:rPr>
                        <a:t> (</a:t>
                      </a:r>
                      <a:r>
                        <a:rPr lang="ru-RU" sz="1100" u="none" strike="noStrike" dirty="0">
                          <a:effectLst/>
                        </a:rPr>
                        <a:t>Центр внедрения </a:t>
                      </a:r>
                      <a:r>
                        <a:rPr lang="ru-RU" sz="1100" u="none" strike="noStrike" dirty="0" err="1">
                          <a:effectLst/>
                        </a:rPr>
                        <a:t>БМикро</a:t>
                      </a:r>
                      <a:r>
                        <a:rPr lang="ru-RU" sz="1100" u="none" strike="noStrike" dirty="0">
                          <a:effectLst/>
                        </a:rPr>
                        <a:t>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0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Cognitive Technologies (</a:t>
                      </a:r>
                      <a:r>
                        <a:rPr lang="ru-RU" sz="1100" u="none" strike="noStrike">
                          <a:effectLst/>
                        </a:rPr>
                        <a:t>Когнитивные технологии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Этлас-Софт (</a:t>
                      </a:r>
                      <a:r>
                        <a:rPr lang="en-US" sz="1100" u="none" strike="noStrike">
                          <a:effectLst/>
                        </a:rPr>
                        <a:t>Atlas Sof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9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Корпорация ЭЛАР - Электронный архи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9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С Акционерное обще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ЛАНИТ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6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Алее Софтвер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5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Ростелеком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  <a:tr h="18467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Корпорация </a:t>
                      </a:r>
                      <a:r>
                        <a:rPr lang="en-US" sz="1100" u="none" strike="noStrike">
                          <a:effectLst/>
                        </a:rPr>
                        <a:t>EM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42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Для планирования </a:t>
            </a:r>
            <a:r>
              <a:rPr lang="ru-RU" dirty="0"/>
              <a:t>необходима </a:t>
            </a:r>
            <a:r>
              <a:rPr lang="ru-RU" dirty="0" smtClean="0"/>
              <a:t>контрольная таблица проек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E4D68BB-16B5-436D-A84A-A7A522D543E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07172972"/>
              </p:ext>
            </p:extLst>
          </p:nvPr>
        </p:nvGraphicFramePr>
        <p:xfrm>
          <a:off x="383183" y="1260000"/>
          <a:ext cx="8784976" cy="3455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100760"/>
              </p:ext>
            </p:extLst>
          </p:nvPr>
        </p:nvGraphicFramePr>
        <p:xfrm>
          <a:off x="4055591" y="3779837"/>
          <a:ext cx="8856984" cy="290816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214246"/>
                <a:gridCol w="1818202"/>
                <a:gridCol w="1152128"/>
                <a:gridCol w="3672408"/>
              </a:tblGrid>
              <a:tr h="317369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Текущие компоненты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Этап</a:t>
                      </a:r>
                      <a:r>
                        <a:rPr lang="ru-RU" sz="1400" baseline="0" dirty="0" smtClean="0"/>
                        <a:t>(ы) процесс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менить?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Требования / замечания</a:t>
                      </a:r>
                      <a:endParaRPr lang="ru-RU" sz="1400" dirty="0"/>
                    </a:p>
                  </a:txBody>
                  <a:tcPr/>
                </a:tc>
              </a:tr>
              <a:tr h="186687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Внутренняя</a:t>
                      </a:r>
                      <a:r>
                        <a:rPr lang="ru-RU" sz="1400" baseline="0" dirty="0" smtClean="0">
                          <a:latin typeface="Segoe Script" panose="020B0504020000000003" pitchFamily="34" charset="0"/>
                        </a:rPr>
                        <a:t> СЭД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3, 7, 8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Да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Архив шаблонов и докум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Интеграция</a:t>
                      </a:r>
                      <a:r>
                        <a:rPr lang="ru-RU" sz="1400" baseline="0" dirty="0" smtClean="0">
                          <a:latin typeface="Segoe Script" panose="020B0504020000000003" pitchFamily="34" charset="0"/>
                        </a:rPr>
                        <a:t> с электронной почтой для согласования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</a:tr>
              <a:tr h="18668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Segoe Script" panose="020B0504020000000003" pitchFamily="34" charset="0"/>
                        </a:rPr>
                        <a:t>ERP 1C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1, 11, 12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Нет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</a:tr>
              <a:tr h="18668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Segoe Script" panose="020B0504020000000003" pitchFamily="34" charset="0"/>
                        </a:rPr>
                        <a:t>B2B-Center.ru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Segoe Script" panose="020B0504020000000003" pitchFamily="34" charset="0"/>
                        </a:rPr>
                        <a:t>4-6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Нет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ФЗ-223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Интегрировать с СЭД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</a:tr>
              <a:tr h="186687">
                <a:tc>
                  <a:txBody>
                    <a:bodyPr/>
                    <a:lstStyle/>
                    <a:p>
                      <a:r>
                        <a:rPr lang="ru-RU" sz="1400" dirty="0" err="1" smtClean="0">
                          <a:latin typeface="Segoe Script" panose="020B0504020000000003" pitchFamily="34" charset="0"/>
                        </a:rPr>
                        <a:t>Такском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10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Нет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Поставщики тоже на </a:t>
                      </a:r>
                      <a:r>
                        <a:rPr lang="ru-RU" sz="1400" dirty="0" err="1" smtClean="0">
                          <a:latin typeface="Segoe Script" panose="020B0504020000000003" pitchFamily="34" charset="0"/>
                        </a:rPr>
                        <a:t>Такскоме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</a:tr>
              <a:tr h="18668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Segoe Script" panose="020B0504020000000003" pitchFamily="34" charset="0"/>
                        </a:rPr>
                        <a:t>Excel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Segoe Script" panose="020B0504020000000003" pitchFamily="34" charset="0"/>
                        </a:rPr>
                        <a:t>12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i="1" u="sng" dirty="0" smtClean="0">
                          <a:latin typeface="Segoe Script" panose="020B0504020000000003" pitchFamily="34" charset="0"/>
                        </a:rPr>
                        <a:t>Да</a:t>
                      </a:r>
                      <a:endParaRPr lang="ru-RU" sz="1400" i="1" u="sng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>
                          <a:latin typeface="Segoe Script" panose="020B0504020000000003" pitchFamily="34" charset="0"/>
                        </a:rPr>
                        <a:t>Автоматизировать</a:t>
                      </a:r>
                      <a:r>
                        <a:rPr lang="ru-RU" sz="1400" baseline="0" dirty="0" smtClean="0">
                          <a:latin typeface="Segoe Script" panose="020B0504020000000003" pitchFamily="34" charset="0"/>
                        </a:rPr>
                        <a:t> рутинную работу</a:t>
                      </a:r>
                      <a:endParaRPr lang="ru-RU" sz="1400" dirty="0">
                        <a:latin typeface="Segoe Script" panose="020B0504020000000003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528199" y="1272541"/>
            <a:ext cx="37444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dirty="0" smtClean="0"/>
              <a:t>Какие компоненты нельзя заменить? Какие достроить? Каких вообще нет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dirty="0"/>
              <a:t>Для интеграции </a:t>
            </a:r>
            <a:r>
              <a:rPr lang="ru-RU" sz="1600" i="1" dirty="0" smtClean="0"/>
              <a:t>проверить наличие у компонентов </a:t>
            </a:r>
            <a:r>
              <a:rPr lang="en-US" sz="1600" i="1" dirty="0" smtClean="0"/>
              <a:t>API / </a:t>
            </a:r>
            <a:r>
              <a:rPr lang="ru-RU" sz="1600" i="1" dirty="0" smtClean="0"/>
              <a:t>шлюз / веб-серви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dirty="0" smtClean="0"/>
              <a:t>Кто интегрирует? Свои? Сотрудники </a:t>
            </a:r>
            <a:r>
              <a:rPr lang="ru-RU" sz="1600" i="1" dirty="0" err="1" smtClean="0"/>
              <a:t>вендора</a:t>
            </a:r>
            <a:r>
              <a:rPr lang="ru-RU" sz="1600" i="1" dirty="0" smtClean="0"/>
              <a:t>? Подрядчик?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403440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Примерное решение </a:t>
            </a:r>
            <a:r>
              <a:rPr lang="ru-RU" dirty="0"/>
              <a:t>для </a:t>
            </a:r>
            <a:r>
              <a:rPr lang="ru-RU" dirty="0" smtClean="0"/>
              <a:t>одного клиен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E4D68BB-16B5-436D-A84A-A7A522D543E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15635013"/>
              </p:ext>
            </p:extLst>
          </p:nvPr>
        </p:nvGraphicFramePr>
        <p:xfrm>
          <a:off x="383183" y="1703501"/>
          <a:ext cx="12457384" cy="448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Овал 6"/>
          <p:cNvSpPr>
            <a:spLocks noChangeAspect="1"/>
          </p:cNvSpPr>
          <p:nvPr/>
        </p:nvSpPr>
        <p:spPr bwMode="auto">
          <a:xfrm>
            <a:off x="9888239" y="2411685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ЭТП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B2B-Center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Овал 7"/>
          <p:cNvSpPr>
            <a:spLocks noChangeAspect="1"/>
          </p:cNvSpPr>
          <p:nvPr/>
        </p:nvSpPr>
        <p:spPr bwMode="auto">
          <a:xfrm>
            <a:off x="6935911" y="985241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en-US" sz="1400" dirty="0" smtClean="0">
                <a:latin typeface="Arial" charset="0"/>
              </a:rPr>
              <a:t>SRM</a:t>
            </a:r>
          </a:p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400" dirty="0" smtClean="0">
                <a:latin typeface="Arial" charset="0"/>
              </a:rPr>
              <a:t>«Мои Постав</a:t>
            </a:r>
            <a:r>
              <a:rPr lang="en-US" sz="1400" dirty="0" smtClean="0">
                <a:latin typeface="Arial" charset="0"/>
              </a:rPr>
              <a:t>-</a:t>
            </a:r>
            <a:r>
              <a:rPr lang="ru-RU" sz="1400" dirty="0" err="1" smtClean="0">
                <a:latin typeface="Arial" charset="0"/>
              </a:rPr>
              <a:t>щики</a:t>
            </a:r>
            <a:r>
              <a:rPr lang="ru-RU" sz="1400" dirty="0" smtClean="0">
                <a:latin typeface="Arial" charset="0"/>
              </a:rPr>
              <a:t>»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" name="Овал 8"/>
          <p:cNvSpPr>
            <a:spLocks noChangeAspect="1"/>
          </p:cNvSpPr>
          <p:nvPr/>
        </p:nvSpPr>
        <p:spPr bwMode="auto">
          <a:xfrm>
            <a:off x="418776" y="2195661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en-US" sz="1400" dirty="0" smtClean="0">
                <a:latin typeface="Arial" charset="0"/>
              </a:rPr>
              <a:t>ERP</a:t>
            </a:r>
            <a:endParaRPr lang="ru-RU" sz="1400" dirty="0" smtClean="0">
              <a:latin typeface="Arial" charset="0"/>
            </a:endParaRPr>
          </a:p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400" dirty="0" smtClean="0">
                <a:latin typeface="Arial" charset="0"/>
              </a:rPr>
              <a:t>1С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" name="Овал 9"/>
          <p:cNvSpPr>
            <a:spLocks noChangeAspect="1"/>
          </p:cNvSpPr>
          <p:nvPr/>
        </p:nvSpPr>
        <p:spPr bwMode="auto">
          <a:xfrm>
            <a:off x="5686408" y="2591599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400" dirty="0" smtClean="0">
                <a:latin typeface="Arial" charset="0"/>
              </a:rPr>
              <a:t>ДО</a:t>
            </a:r>
          </a:p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en-US" sz="1400" dirty="0" smtClean="0">
                <a:latin typeface="Arial" charset="0"/>
              </a:rPr>
              <a:t>Docs-Vision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1" name="Овал 10"/>
          <p:cNvSpPr>
            <a:spLocks noChangeAspect="1"/>
          </p:cNvSpPr>
          <p:nvPr/>
        </p:nvSpPr>
        <p:spPr bwMode="auto">
          <a:xfrm>
            <a:off x="2568014" y="2195661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«</a:t>
            </a:r>
            <a:r>
              <a:rPr kumimoji="0" lang="ru-RU" sz="14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rPr>
              <a:t>Планир-ование</a:t>
            </a:r>
            <a:r>
              <a:rPr kumimoji="0" lang="ru-RU" sz="1400" b="0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закупок»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2" name="Овал 11"/>
          <p:cNvSpPr>
            <a:spLocks noChangeAspect="1"/>
          </p:cNvSpPr>
          <p:nvPr/>
        </p:nvSpPr>
        <p:spPr bwMode="auto">
          <a:xfrm>
            <a:off x="2235979" y="4263597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400" dirty="0" smtClean="0">
                <a:latin typeface="Arial" charset="0"/>
              </a:rPr>
              <a:t>ЭДО</a:t>
            </a:r>
          </a:p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400" dirty="0" err="1" smtClean="0">
                <a:latin typeface="Arial" charset="0"/>
              </a:rPr>
              <a:t>Такском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3" name="Двойная стрелка влево/вправо 12"/>
          <p:cNvSpPr/>
          <p:nvPr/>
        </p:nvSpPr>
        <p:spPr bwMode="auto">
          <a:xfrm rot="20688556">
            <a:off x="3538643" y="1839039"/>
            <a:ext cx="3531477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Сквозная</a:t>
            </a:r>
            <a:r>
              <a:rPr kumimoji="0" lang="ru-RU" sz="1200" b="0" i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интеграция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5" name="Двойная стрелка влево/вправо 14"/>
          <p:cNvSpPr/>
          <p:nvPr/>
        </p:nvSpPr>
        <p:spPr bwMode="auto">
          <a:xfrm>
            <a:off x="1498776" y="2447689"/>
            <a:ext cx="1069238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en-US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API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6" name="Двойная стрелка влево/вправо 15"/>
          <p:cNvSpPr/>
          <p:nvPr/>
        </p:nvSpPr>
        <p:spPr bwMode="auto">
          <a:xfrm rot="1723494">
            <a:off x="7796607" y="1907629"/>
            <a:ext cx="2304994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Сквозная</a:t>
            </a:r>
            <a:r>
              <a:rPr kumimoji="0" lang="ru-RU" sz="1200" b="0" i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интеграция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8" name="Двойная стрелка влево/вправо 17"/>
          <p:cNvSpPr/>
          <p:nvPr/>
        </p:nvSpPr>
        <p:spPr bwMode="auto">
          <a:xfrm rot="20733871">
            <a:off x="3132488" y="3637964"/>
            <a:ext cx="6967674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108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lang="ru-RU" sz="1200" i="1" dirty="0" smtClean="0">
                <a:latin typeface="Arial" charset="0"/>
              </a:rPr>
              <a:t>Веб-сервиз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4" name="Двойная стрелка влево/вправо 13"/>
          <p:cNvSpPr/>
          <p:nvPr/>
        </p:nvSpPr>
        <p:spPr bwMode="auto">
          <a:xfrm rot="21424087">
            <a:off x="6703412" y="2725282"/>
            <a:ext cx="3255274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en-US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API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7" name="Двойная стрелка влево/вправо 16"/>
          <p:cNvSpPr/>
          <p:nvPr/>
        </p:nvSpPr>
        <p:spPr bwMode="auto">
          <a:xfrm rot="575241">
            <a:off x="3599457" y="2675992"/>
            <a:ext cx="2152057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en-US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API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9" name="Овал 18"/>
          <p:cNvSpPr>
            <a:spLocks noChangeAspect="1"/>
          </p:cNvSpPr>
          <p:nvPr/>
        </p:nvSpPr>
        <p:spPr bwMode="auto">
          <a:xfrm>
            <a:off x="4889338" y="5640225"/>
            <a:ext cx="1080000" cy="108012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«Мои </a:t>
            </a:r>
            <a:r>
              <a:rPr kumimoji="0" lang="ru-RU" sz="1400" b="0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rPr>
              <a:t>докумен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-ты»</a:t>
            </a:r>
            <a:endParaRPr kumimoji="0" lang="ru-RU" sz="14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1" name="Двойная стрелка влево/вправо 20"/>
          <p:cNvSpPr/>
          <p:nvPr/>
        </p:nvSpPr>
        <p:spPr bwMode="auto">
          <a:xfrm rot="19829666">
            <a:off x="5481952" y="4346590"/>
            <a:ext cx="5085343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ru-RU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Сквозная</a:t>
            </a:r>
            <a:r>
              <a:rPr kumimoji="0" lang="ru-RU" sz="1200" b="0" i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интеграция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2" name="Двойная стрелка влево/вправо 21"/>
          <p:cNvSpPr/>
          <p:nvPr/>
        </p:nvSpPr>
        <p:spPr bwMode="auto">
          <a:xfrm rot="17148552">
            <a:off x="4728466" y="4344393"/>
            <a:ext cx="2173397" cy="57606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66725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r>
              <a:rPr kumimoji="0" lang="en-US" sz="1200" b="0" i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API</a:t>
            </a:r>
            <a:endParaRPr kumimoji="0" lang="ru-RU" sz="1200" b="0" i="1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405369" y="5471665"/>
            <a:ext cx="4962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Единое, «бесшовное» решение для клиен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9879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6" grpId="0" animBg="1"/>
      <p:bldP spid="18" grpId="0" animBg="1"/>
      <p:bldP spid="14" grpId="0" animBg="1"/>
      <p:bldP spid="17" grpId="0" animBg="1"/>
      <p:bldP spid="19" grpId="0" animBg="1"/>
      <p:bldP spid="21" grpId="0" animBg="1"/>
      <p:bldP spid="22" grpId="0" animBg="1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7424" y="2532253"/>
            <a:ext cx="4032448" cy="1631072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596584"/>
              </p:ext>
            </p:extLst>
          </p:nvPr>
        </p:nvGraphicFramePr>
        <p:xfrm>
          <a:off x="1737514" y="1633285"/>
          <a:ext cx="8959850" cy="357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91970"/>
                <a:gridCol w="1791970"/>
                <a:gridCol w="1791970"/>
                <a:gridCol w="1791970"/>
                <a:gridCol w="1791970"/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EF2F5E"/>
                          </a:solidFill>
                        </a:rPr>
                        <a:t>Этап переговоров</a:t>
                      </a:r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EF2F5E"/>
                          </a:solidFill>
                        </a:rPr>
                        <a:t>Реализация</a:t>
                      </a:r>
                      <a:endParaRPr lang="ru-RU" sz="1400" b="1" dirty="0" smtClean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EF2F5E"/>
                          </a:solidFill>
                        </a:rPr>
                        <a:t>Адаптация</a:t>
                      </a:r>
                      <a:endParaRPr lang="ru-RU" sz="1400" b="1" dirty="0" smtClean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EF2F5E"/>
                          </a:solidFill>
                        </a:rPr>
                        <a:t>Штатная работа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3848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Планирование проект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Управление проектом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Проверка соответств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Интеграция и тестировани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Настройка</a:t>
                      </a:r>
                    </a:p>
                    <a:p>
                      <a:r>
                        <a:rPr lang="ru-RU" sz="1400" b="1" dirty="0" smtClean="0"/>
                        <a:t>реш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1E000A-3228-4A9E-9CAA-BC22440A79E6}" type="slidenum">
              <a:rPr lang="ru-RU" smtClean="0"/>
              <a:pPr/>
              <a:t>9</a:t>
            </a:fld>
            <a:r>
              <a:rPr lang="ru-RU" smtClean="0"/>
              <a:t> </a:t>
            </a:r>
            <a:endParaRPr lang="ru-RU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111375" y="683494"/>
            <a:ext cx="8856984" cy="541789"/>
          </a:xfrm>
          <a:prstGeom prst="rect">
            <a:avLst/>
          </a:prstGeom>
        </p:spPr>
        <p:txBody>
          <a:bodyPr/>
          <a:lstStyle>
            <a:lvl1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+mj-lt"/>
                <a:ea typeface="Geneva" charset="0"/>
                <a:cs typeface="+mj-cs"/>
              </a:defRPr>
            </a:lvl1pPr>
            <a:lvl2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2pPr>
            <a:lvl3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3pPr>
            <a:lvl4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4pPr>
            <a:lvl5pPr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4400">
                <a:solidFill>
                  <a:srgbClr val="000000"/>
                </a:solidFill>
                <a:latin typeface="Arial" charset="0"/>
                <a:ea typeface="Geneva" charset="0"/>
                <a:cs typeface="Arial Unicode MS" charset="0"/>
              </a:defRPr>
            </a:lvl5pPr>
            <a:lvl6pPr marL="25146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6pPr>
            <a:lvl7pPr marL="29718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7pPr>
            <a:lvl8pPr marL="34290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8pPr>
            <a:lvl9pPr marL="3886200" indent="-228600" algn="ctr" defTabSz="466725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Arial Unicode MS" charset="0"/>
                <a:cs typeface="Arial Unicode MS" charset="0"/>
              </a:defRPr>
            </a:lvl9pPr>
          </a:lstStyle>
          <a:p>
            <a:pPr algn="l"/>
            <a:r>
              <a:rPr lang="ru-RU" sz="2400" b="1" kern="0" dirty="0">
                <a:solidFill>
                  <a:schemeClr val="tx1"/>
                </a:solidFill>
              </a:rPr>
              <a:t>План реализации </a:t>
            </a:r>
            <a:r>
              <a:rPr lang="ru-RU" sz="2400" b="1" kern="0" dirty="0" smtClean="0">
                <a:solidFill>
                  <a:schemeClr val="tx1"/>
                </a:solidFill>
              </a:rPr>
              <a:t>решения </a:t>
            </a:r>
            <a:r>
              <a:rPr lang="en-US" sz="2400" b="1" kern="0" dirty="0" smtClean="0">
                <a:solidFill>
                  <a:schemeClr val="tx1"/>
                </a:solidFill>
              </a:rPr>
              <a:t>ECM</a:t>
            </a:r>
            <a:endParaRPr lang="ru-RU" sz="2400" b="1" kern="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424361" y="2699717"/>
            <a:ext cx="3383757" cy="4999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100" dirty="0"/>
              <a:t>Итеративное планирование разработок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573480" y="2045095"/>
            <a:ext cx="853200" cy="55399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000" dirty="0"/>
              <a:t>Предвари-тельная работ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464614" y="2052750"/>
            <a:ext cx="743106" cy="5544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/>
              <a:t>Обзор реше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424362" y="3347789"/>
            <a:ext cx="719461" cy="504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/>
              <a:t>Отче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432115" y="3999899"/>
            <a:ext cx="711707" cy="50001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 smtClean="0"/>
              <a:t>Инте-грация</a:t>
            </a:r>
            <a:endParaRPr lang="ru-RU" sz="10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215831" y="3350845"/>
            <a:ext cx="801197" cy="504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/>
              <a:t>Проверк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421862" y="4610735"/>
            <a:ext cx="1567429" cy="2492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/>
              <a:t>Обучение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215831" y="3999899"/>
            <a:ext cx="773460" cy="50001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000" dirty="0" smtClean="0"/>
              <a:t>Тест-</a:t>
            </a:r>
            <a:r>
              <a:rPr lang="ru-RU" sz="1000" dirty="0" err="1" smtClean="0"/>
              <a:t>ирование</a:t>
            </a:r>
            <a:endParaRPr lang="ru-RU" sz="10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426592" y="4927060"/>
            <a:ext cx="3383757" cy="22092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1100" dirty="0"/>
              <a:t>Настройка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1579" y="1619597"/>
            <a:ext cx="8967993" cy="362743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1455" y="3062047"/>
            <a:ext cx="4032448" cy="1631072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7639" y="4715941"/>
            <a:ext cx="4032448" cy="1631072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8232055" y="2370447"/>
            <a:ext cx="44644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…или </a:t>
            </a:r>
            <a:r>
              <a:rPr lang="ru-RU" dirty="0"/>
              <a:t>возможна поэтапная реализация для того, </a:t>
            </a:r>
            <a:r>
              <a:rPr lang="ru-RU" dirty="0" smtClean="0"/>
              <a:t>чтобы минимизировать прерывание рабочего процесса и более спокойно организовать обучение сотрудников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4606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6034E-7 -1.14238E-6 L -0.2842 -0.15246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210" y="-76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5" grpId="0" animBg="1"/>
      <p:bldP spid="18" grpId="0" animBg="1"/>
      <p:bldP spid="19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4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9kMMp8d0qwbuWETVUw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9kMMp8d0qwbuWETVUwXA"/>
</p:tagLst>
</file>

<file path=ppt/theme/theme1.xml><?xml version="1.0" encoding="utf-8"?>
<a:theme xmlns:a="http://schemas.openxmlformats.org/drawingml/2006/main" name="Common slide">
  <a:themeElements>
    <a:clrScheme name="Custom 7">
      <a:dk1>
        <a:srgbClr val="333333"/>
      </a:dk1>
      <a:lt1>
        <a:srgbClr val="FFFFFF"/>
      </a:lt1>
      <a:dk2>
        <a:srgbClr val="8C8C8C"/>
      </a:dk2>
      <a:lt2>
        <a:srgbClr val="CCCCCC"/>
      </a:lt2>
      <a:accent1>
        <a:srgbClr val="FF0000"/>
      </a:accent1>
      <a:accent2>
        <a:srgbClr val="663366"/>
      </a:accent2>
      <a:accent3>
        <a:srgbClr val="990000"/>
      </a:accent3>
      <a:accent4>
        <a:srgbClr val="663333"/>
      </a:accent4>
      <a:accent5>
        <a:srgbClr val="333366"/>
      </a:accent5>
      <a:accent6>
        <a:srgbClr val="000000"/>
      </a:accent6>
      <a:hlink>
        <a:srgbClr val="003399"/>
      </a:hlink>
      <a:folHlink>
        <a:srgbClr val="912E76"/>
      </a:folHlink>
    </a:clrScheme>
    <a:fontScheme name="b2b-cent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draft" id="{0D691E3F-84FE-4C35-9ACB-1DE34DDEE450}" vid="{9C48119C-402B-44F8-BFF3-881BC1491078}"/>
    </a:ext>
  </a:extLst>
</a:theme>
</file>

<file path=ppt/theme/theme2.xml><?xml version="1.0" encoding="utf-8"?>
<a:theme xmlns:a="http://schemas.openxmlformats.org/drawingml/2006/main" name="Tilte slide">
  <a:themeElements>
    <a:clrScheme name="Custom 7">
      <a:dk1>
        <a:srgbClr val="333333"/>
      </a:dk1>
      <a:lt1>
        <a:srgbClr val="FFFFFF"/>
      </a:lt1>
      <a:dk2>
        <a:srgbClr val="8C8C8C"/>
      </a:dk2>
      <a:lt2>
        <a:srgbClr val="CCCCCC"/>
      </a:lt2>
      <a:accent1>
        <a:srgbClr val="FF0000"/>
      </a:accent1>
      <a:accent2>
        <a:srgbClr val="663366"/>
      </a:accent2>
      <a:accent3>
        <a:srgbClr val="990000"/>
      </a:accent3>
      <a:accent4>
        <a:srgbClr val="663333"/>
      </a:accent4>
      <a:accent5>
        <a:srgbClr val="333366"/>
      </a:accent5>
      <a:accent6>
        <a:srgbClr val="000000"/>
      </a:accent6>
      <a:hlink>
        <a:srgbClr val="003399"/>
      </a:hlink>
      <a:folHlink>
        <a:srgbClr val="912E7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шаблон_draft" id="{0D691E3F-84FE-4C35-9ACB-1DE34DDEE450}" vid="{3956B0C3-C0FB-4019-BB81-45F90557935A}"/>
    </a:ext>
  </a:extLst>
</a:theme>
</file>

<file path=ppt/theme/theme3.xml><?xml version="1.0" encoding="utf-8"?>
<a:theme xmlns:a="http://schemas.openxmlformats.org/drawingml/2006/main" name="1_Common slide">
  <a:themeElements>
    <a:clrScheme name="Custom 7">
      <a:dk1>
        <a:srgbClr val="333333"/>
      </a:dk1>
      <a:lt1>
        <a:srgbClr val="FFFFFF"/>
      </a:lt1>
      <a:dk2>
        <a:srgbClr val="8C8C8C"/>
      </a:dk2>
      <a:lt2>
        <a:srgbClr val="CCCCCC"/>
      </a:lt2>
      <a:accent1>
        <a:srgbClr val="FF0000"/>
      </a:accent1>
      <a:accent2>
        <a:srgbClr val="663366"/>
      </a:accent2>
      <a:accent3>
        <a:srgbClr val="990000"/>
      </a:accent3>
      <a:accent4>
        <a:srgbClr val="663333"/>
      </a:accent4>
      <a:accent5>
        <a:srgbClr val="333366"/>
      </a:accent5>
      <a:accent6>
        <a:srgbClr val="000000"/>
      </a:accent6>
      <a:hlink>
        <a:srgbClr val="003399"/>
      </a:hlink>
      <a:folHlink>
        <a:srgbClr val="912E76"/>
      </a:folHlink>
    </a:clrScheme>
    <a:fontScheme name="b2b-cent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draft" id="{0D691E3F-84FE-4C35-9ACB-1DE34DDEE450}" vid="{96285C88-459A-44D4-B527-2659F46AF3E7}"/>
    </a:ext>
  </a:extLst>
</a:theme>
</file>

<file path=ppt/theme/theme4.xml><?xml version="1.0" encoding="utf-8"?>
<a:theme xmlns:a="http://schemas.openxmlformats.org/drawingml/2006/main" name="2_Common slide">
  <a:themeElements>
    <a:clrScheme name="Custom 7">
      <a:dk1>
        <a:srgbClr val="333333"/>
      </a:dk1>
      <a:lt1>
        <a:srgbClr val="FFFFFF"/>
      </a:lt1>
      <a:dk2>
        <a:srgbClr val="8C8C8C"/>
      </a:dk2>
      <a:lt2>
        <a:srgbClr val="CCCCCC"/>
      </a:lt2>
      <a:accent1>
        <a:srgbClr val="FF0000"/>
      </a:accent1>
      <a:accent2>
        <a:srgbClr val="663366"/>
      </a:accent2>
      <a:accent3>
        <a:srgbClr val="990000"/>
      </a:accent3>
      <a:accent4>
        <a:srgbClr val="663333"/>
      </a:accent4>
      <a:accent5>
        <a:srgbClr val="333366"/>
      </a:accent5>
      <a:accent6>
        <a:srgbClr val="000000"/>
      </a:accent6>
      <a:hlink>
        <a:srgbClr val="003399"/>
      </a:hlink>
      <a:folHlink>
        <a:srgbClr val="912E76"/>
      </a:folHlink>
    </a:clrScheme>
    <a:fontScheme name="b2b-cent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draft" id="{0D691E3F-84FE-4C35-9ACB-1DE34DDEE450}" vid="{DFAF990A-F285-414D-A088-389D1C2B7C5B}"/>
    </a:ext>
  </a:extLst>
</a:theme>
</file>

<file path=ppt/theme/theme5.xml><?xml version="1.0" encoding="utf-8"?>
<a:theme xmlns:a="http://schemas.openxmlformats.org/drawingml/2006/main" name="3_Common slide">
  <a:themeElements>
    <a:clrScheme name="Custom 7">
      <a:dk1>
        <a:srgbClr val="333333"/>
      </a:dk1>
      <a:lt1>
        <a:srgbClr val="FFFFFF"/>
      </a:lt1>
      <a:dk2>
        <a:srgbClr val="8C8C8C"/>
      </a:dk2>
      <a:lt2>
        <a:srgbClr val="CCCCCC"/>
      </a:lt2>
      <a:accent1>
        <a:srgbClr val="FF0000"/>
      </a:accent1>
      <a:accent2>
        <a:srgbClr val="663366"/>
      </a:accent2>
      <a:accent3>
        <a:srgbClr val="990000"/>
      </a:accent3>
      <a:accent4>
        <a:srgbClr val="663333"/>
      </a:accent4>
      <a:accent5>
        <a:srgbClr val="333366"/>
      </a:accent5>
      <a:accent6>
        <a:srgbClr val="000000"/>
      </a:accent6>
      <a:hlink>
        <a:srgbClr val="003399"/>
      </a:hlink>
      <a:folHlink>
        <a:srgbClr val="912E76"/>
      </a:folHlink>
    </a:clrScheme>
    <a:fontScheme name="b2b-cent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66725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draft" id="{0D691E3F-84FE-4C35-9ACB-1DE34DDEE450}" vid="{BAE7CC1A-C004-4205-BB53-41F6C4FDE8A9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7</TotalTime>
  <Words>916</Words>
  <Application>Microsoft Office PowerPoint</Application>
  <PresentationFormat>Произвольный</PresentationFormat>
  <Paragraphs>297</Paragraphs>
  <Slides>10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 Unicode MS</vt:lpstr>
      <vt:lpstr>MS PGothic</vt:lpstr>
      <vt:lpstr>MS PGothic</vt:lpstr>
      <vt:lpstr>Arial</vt:lpstr>
      <vt:lpstr>Calibri</vt:lpstr>
      <vt:lpstr>Geneva</vt:lpstr>
      <vt:lpstr>Segoe Script</vt:lpstr>
      <vt:lpstr>Times New Roman</vt:lpstr>
      <vt:lpstr>Common slide</vt:lpstr>
      <vt:lpstr>Tilte slide</vt:lpstr>
      <vt:lpstr>1_Common slide</vt:lpstr>
      <vt:lpstr>2_Common slide</vt:lpstr>
      <vt:lpstr>3_Common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копич Оксана Андреевна</dc:creator>
  <cp:lastModifiedBy>Агеева Юлия Васильевна</cp:lastModifiedBy>
  <cp:revision>310</cp:revision>
  <cp:lastPrinted>2014-06-24T14:25:27Z</cp:lastPrinted>
  <dcterms:created xsi:type="dcterms:W3CDTF">2014-02-10T06:09:15Z</dcterms:created>
  <dcterms:modified xsi:type="dcterms:W3CDTF">2014-08-26T08:01:54Z</dcterms:modified>
</cp:coreProperties>
</file>